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2" r:id="rId2"/>
    <p:sldMasterId id="2147483714" r:id="rId3"/>
  </p:sldMasterIdLst>
  <p:notesMasterIdLst>
    <p:notesMasterId r:id="rId12"/>
  </p:notesMasterIdLst>
  <p:sldIdLst>
    <p:sldId id="292" r:id="rId4"/>
    <p:sldId id="2147476033" r:id="rId5"/>
    <p:sldId id="296" r:id="rId6"/>
    <p:sldId id="2147476034" r:id="rId7"/>
    <p:sldId id="2147476032" r:id="rId8"/>
    <p:sldId id="275" r:id="rId9"/>
    <p:sldId id="864" r:id="rId10"/>
    <p:sldId id="303" r:id="rId11"/>
  </p:sldIdLst>
  <p:sldSz cx="12192000" cy="6858000"/>
  <p:notesSz cx="6858000" cy="9144000"/>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3F0627-0B17-41FD-8260-EA6547DBD463}" v="283" dt="2025-09-21T10:27:14.2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4" autoAdjust="0"/>
    <p:restoredTop sz="94705"/>
  </p:normalViewPr>
  <p:slideViewPr>
    <p:cSldViewPr snapToGrid="0">
      <p:cViewPr varScale="1">
        <p:scale>
          <a:sx n="108" d="100"/>
          <a:sy n="108" d="100"/>
        </p:scale>
        <p:origin x="68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GC059\Downloads\Sick%20Files%20Survey(1-114).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1</c:name>
    <c:fmtId val="12"/>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B$3</c:f>
              <c:strCache>
                <c:ptCount val="1"/>
                <c:pt idx="0">
                  <c:v>Total</c:v>
                </c:pt>
              </c:strCache>
            </c:strRef>
          </c:tx>
          <c:spPr>
            <a:solidFill>
              <a:schemeClr val="accent1"/>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1-9231-4772-B43A-FDF5DBA5000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6</c:f>
              <c:strCache>
                <c:ptCount val="2"/>
                <c:pt idx="0">
                  <c:v>No</c:v>
                </c:pt>
                <c:pt idx="1">
                  <c:v>Yes</c:v>
                </c:pt>
              </c:strCache>
            </c:strRef>
          </c:cat>
          <c:val>
            <c:numRef>
              <c:f>Sheet2!$B$4:$B$6</c:f>
              <c:numCache>
                <c:formatCode>0%</c:formatCode>
                <c:ptCount val="2"/>
                <c:pt idx="0">
                  <c:v>0.13157894736842105</c:v>
                </c:pt>
                <c:pt idx="1">
                  <c:v>0.86842105263157898</c:v>
                </c:pt>
              </c:numCache>
            </c:numRef>
          </c:val>
          <c:extLst>
            <c:ext xmlns:c16="http://schemas.microsoft.com/office/drawing/2014/chart" uri="{C3380CC4-5D6E-409C-BE32-E72D297353CC}">
              <c16:uniqueId val="{00000000-9231-4772-B43A-FDF5DBA50003}"/>
            </c:ext>
          </c:extLst>
        </c:ser>
        <c:dLbls>
          <c:dLblPos val="outEnd"/>
          <c:showLegendKey val="0"/>
          <c:showVal val="1"/>
          <c:showCatName val="0"/>
          <c:showSerName val="0"/>
          <c:showPercent val="0"/>
          <c:showBubbleSize val="0"/>
        </c:dLbls>
        <c:gapWidth val="182"/>
        <c:axId val="884123311"/>
        <c:axId val="884106991"/>
      </c:barChart>
      <c:catAx>
        <c:axId val="884123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884106991"/>
        <c:crosses val="autoZero"/>
        <c:auto val="1"/>
        <c:lblAlgn val="ctr"/>
        <c:lblOffset val="100"/>
        <c:noMultiLvlLbl val="0"/>
      </c:catAx>
      <c:valAx>
        <c:axId val="884106991"/>
        <c:scaling>
          <c:orientation val="minMax"/>
        </c:scaling>
        <c:delete val="1"/>
        <c:axPos val="b"/>
        <c:numFmt formatCode="0%" sourceLinked="1"/>
        <c:majorTickMark val="none"/>
        <c:minorTickMark val="none"/>
        <c:tickLblPos val="nextTo"/>
        <c:crossAx val="88412331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2</c:name>
    <c:fmtId val="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B$9</c:f>
              <c:strCache>
                <c:ptCount val="1"/>
                <c:pt idx="0">
                  <c:v>Total</c:v>
                </c:pt>
              </c:strCache>
            </c:strRef>
          </c:tx>
          <c:spPr>
            <a:solidFill>
              <a:schemeClr val="accent1"/>
            </a:solidFill>
            <a:ln>
              <a:noFill/>
            </a:ln>
            <a:effectLst/>
          </c:spPr>
          <c:invertIfNegative val="0"/>
          <c:dPt>
            <c:idx val="2"/>
            <c:invertIfNegative val="0"/>
            <c:bubble3D val="0"/>
            <c:spPr>
              <a:solidFill>
                <a:srgbClr val="00B050"/>
              </a:solidFill>
              <a:ln>
                <a:noFill/>
              </a:ln>
              <a:effectLst/>
            </c:spPr>
            <c:extLst>
              <c:ext xmlns:c16="http://schemas.microsoft.com/office/drawing/2014/chart" uri="{C3380CC4-5D6E-409C-BE32-E72D297353CC}">
                <c16:uniqueId val="{00000001-7D46-461C-AB78-C9B9278986E6}"/>
              </c:ext>
            </c:extLst>
          </c:dPt>
          <c:dPt>
            <c:idx val="3"/>
            <c:invertIfNegative val="0"/>
            <c:bubble3D val="0"/>
            <c:spPr>
              <a:solidFill>
                <a:srgbClr val="00B050"/>
              </a:solidFill>
              <a:ln>
                <a:noFill/>
              </a:ln>
              <a:effectLst/>
            </c:spPr>
            <c:extLst>
              <c:ext xmlns:c16="http://schemas.microsoft.com/office/drawing/2014/chart" uri="{C3380CC4-5D6E-409C-BE32-E72D297353CC}">
                <c16:uniqueId val="{00000002-7D46-461C-AB78-C9B9278986E6}"/>
              </c:ext>
            </c:extLst>
          </c:dPt>
          <c:dPt>
            <c:idx val="4"/>
            <c:invertIfNegative val="0"/>
            <c:bubble3D val="0"/>
            <c:spPr>
              <a:solidFill>
                <a:srgbClr val="00B050"/>
              </a:solidFill>
              <a:ln>
                <a:noFill/>
              </a:ln>
              <a:effectLst/>
            </c:spPr>
            <c:extLst>
              <c:ext xmlns:c16="http://schemas.microsoft.com/office/drawing/2014/chart" uri="{C3380CC4-5D6E-409C-BE32-E72D297353CC}">
                <c16:uniqueId val="{00000003-7D46-461C-AB78-C9B9278986E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10:$A$15</c:f>
              <c:strCache>
                <c:ptCount val="5"/>
                <c:pt idx="0">
                  <c:v>Not confident</c:v>
                </c:pt>
                <c:pt idx="1">
                  <c:v>Slightly confident</c:v>
                </c:pt>
                <c:pt idx="2">
                  <c:v>Moderately confident</c:v>
                </c:pt>
                <c:pt idx="3">
                  <c:v>Very confident</c:v>
                </c:pt>
                <c:pt idx="4">
                  <c:v>Extremely confident</c:v>
                </c:pt>
              </c:strCache>
            </c:strRef>
          </c:cat>
          <c:val>
            <c:numRef>
              <c:f>Sheet2!$B$10:$B$15</c:f>
              <c:numCache>
                <c:formatCode>0%</c:formatCode>
                <c:ptCount val="5"/>
                <c:pt idx="0">
                  <c:v>0.17543859649122806</c:v>
                </c:pt>
                <c:pt idx="1">
                  <c:v>0.14912280701754385</c:v>
                </c:pt>
                <c:pt idx="2">
                  <c:v>0.34210526315789475</c:v>
                </c:pt>
                <c:pt idx="3">
                  <c:v>0.26315789473684209</c:v>
                </c:pt>
                <c:pt idx="4">
                  <c:v>7.0175438596491224E-2</c:v>
                </c:pt>
              </c:numCache>
            </c:numRef>
          </c:val>
          <c:extLst>
            <c:ext xmlns:c16="http://schemas.microsoft.com/office/drawing/2014/chart" uri="{C3380CC4-5D6E-409C-BE32-E72D297353CC}">
              <c16:uniqueId val="{00000000-7D46-461C-AB78-C9B9278986E6}"/>
            </c:ext>
          </c:extLst>
        </c:ser>
        <c:dLbls>
          <c:dLblPos val="outEnd"/>
          <c:showLegendKey val="0"/>
          <c:showVal val="1"/>
          <c:showCatName val="0"/>
          <c:showSerName val="0"/>
          <c:showPercent val="0"/>
          <c:showBubbleSize val="0"/>
        </c:dLbls>
        <c:gapWidth val="182"/>
        <c:axId val="1363723151"/>
        <c:axId val="1363732271"/>
      </c:barChart>
      <c:catAx>
        <c:axId val="13637231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363732271"/>
        <c:crosses val="autoZero"/>
        <c:auto val="1"/>
        <c:lblAlgn val="l"/>
        <c:lblOffset val="100"/>
        <c:noMultiLvlLbl val="0"/>
      </c:catAx>
      <c:valAx>
        <c:axId val="1363732271"/>
        <c:scaling>
          <c:orientation val="minMax"/>
        </c:scaling>
        <c:delete val="1"/>
        <c:axPos val="b"/>
        <c:numFmt formatCode="0%" sourceLinked="1"/>
        <c:majorTickMark val="none"/>
        <c:minorTickMark val="none"/>
        <c:tickLblPos val="nextTo"/>
        <c:crossAx val="13637231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3</c:name>
    <c:fmtId val="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B$18</c:f>
              <c:strCache>
                <c:ptCount val="1"/>
                <c:pt idx="0">
                  <c:v>Total</c:v>
                </c:pt>
              </c:strCache>
            </c:strRef>
          </c:tx>
          <c:spPr>
            <a:solidFill>
              <a:schemeClr val="accent1"/>
            </a:solidFill>
            <a:ln>
              <a:noFill/>
            </a:ln>
            <a:effectLst/>
          </c:spPr>
          <c:invertIfNegative val="0"/>
          <c:dPt>
            <c:idx val="3"/>
            <c:invertIfNegative val="0"/>
            <c:bubble3D val="0"/>
            <c:spPr>
              <a:solidFill>
                <a:srgbClr val="00B050"/>
              </a:solidFill>
              <a:ln>
                <a:noFill/>
              </a:ln>
              <a:effectLst/>
            </c:spPr>
            <c:extLst>
              <c:ext xmlns:c16="http://schemas.microsoft.com/office/drawing/2014/chart" uri="{C3380CC4-5D6E-409C-BE32-E72D297353CC}">
                <c16:uniqueId val="{00000001-6280-4DBE-9673-66F9A5BD395F}"/>
              </c:ext>
            </c:extLst>
          </c:dPt>
          <c:dPt>
            <c:idx val="4"/>
            <c:invertIfNegative val="0"/>
            <c:bubble3D val="0"/>
            <c:spPr>
              <a:solidFill>
                <a:srgbClr val="00B050"/>
              </a:solidFill>
              <a:ln>
                <a:noFill/>
              </a:ln>
              <a:effectLst/>
            </c:spPr>
            <c:extLst>
              <c:ext xmlns:c16="http://schemas.microsoft.com/office/drawing/2014/chart" uri="{C3380CC4-5D6E-409C-BE32-E72D297353CC}">
                <c16:uniqueId val="{00000002-6280-4DBE-9673-66F9A5BD395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19:$A$24</c:f>
              <c:strCache>
                <c:ptCount val="5"/>
                <c:pt idx="0">
                  <c:v>Never</c:v>
                </c:pt>
                <c:pt idx="1">
                  <c:v>Rarely</c:v>
                </c:pt>
                <c:pt idx="2">
                  <c:v>Weekly</c:v>
                </c:pt>
                <c:pt idx="3">
                  <c:v>Multiple times a week</c:v>
                </c:pt>
                <c:pt idx="4">
                  <c:v>Daily</c:v>
                </c:pt>
              </c:strCache>
            </c:strRef>
          </c:cat>
          <c:val>
            <c:numRef>
              <c:f>Sheet2!$B$19:$B$24</c:f>
              <c:numCache>
                <c:formatCode>0%</c:formatCode>
                <c:ptCount val="5"/>
                <c:pt idx="0">
                  <c:v>0.18421052631578946</c:v>
                </c:pt>
                <c:pt idx="1">
                  <c:v>0.21929824561403508</c:v>
                </c:pt>
                <c:pt idx="2">
                  <c:v>0.15789473684210525</c:v>
                </c:pt>
                <c:pt idx="3">
                  <c:v>0.24561403508771928</c:v>
                </c:pt>
                <c:pt idx="4">
                  <c:v>0.19298245614035087</c:v>
                </c:pt>
              </c:numCache>
            </c:numRef>
          </c:val>
          <c:extLst>
            <c:ext xmlns:c16="http://schemas.microsoft.com/office/drawing/2014/chart" uri="{C3380CC4-5D6E-409C-BE32-E72D297353CC}">
              <c16:uniqueId val="{00000000-6280-4DBE-9673-66F9A5BD395F}"/>
            </c:ext>
          </c:extLst>
        </c:ser>
        <c:dLbls>
          <c:dLblPos val="outEnd"/>
          <c:showLegendKey val="0"/>
          <c:showVal val="1"/>
          <c:showCatName val="0"/>
          <c:showSerName val="0"/>
          <c:showPercent val="0"/>
          <c:showBubbleSize val="0"/>
        </c:dLbls>
        <c:gapWidth val="182"/>
        <c:axId val="1859745311"/>
        <c:axId val="1859722751"/>
      </c:barChart>
      <c:catAx>
        <c:axId val="185974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859722751"/>
        <c:crosses val="autoZero"/>
        <c:auto val="1"/>
        <c:lblAlgn val="ctr"/>
        <c:lblOffset val="100"/>
        <c:noMultiLvlLbl val="0"/>
      </c:catAx>
      <c:valAx>
        <c:axId val="1859722751"/>
        <c:scaling>
          <c:orientation val="minMax"/>
        </c:scaling>
        <c:delete val="1"/>
        <c:axPos val="b"/>
        <c:numFmt formatCode="0%" sourceLinked="1"/>
        <c:majorTickMark val="none"/>
        <c:minorTickMark val="none"/>
        <c:tickLblPos val="nextTo"/>
        <c:crossAx val="185974531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4</c:name>
    <c:fmtId val="4"/>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B$26</c:f>
              <c:strCache>
                <c:ptCount val="1"/>
                <c:pt idx="0">
                  <c:v>Total</c:v>
                </c:pt>
              </c:strCache>
            </c:strRef>
          </c:tx>
          <c:spPr>
            <a:solidFill>
              <a:schemeClr val="accent1"/>
            </a:solidFill>
            <a:ln>
              <a:noFill/>
            </a:ln>
            <a:effectLst/>
          </c:spPr>
          <c:invertIfNegative val="0"/>
          <c:dPt>
            <c:idx val="3"/>
            <c:invertIfNegative val="0"/>
            <c:bubble3D val="0"/>
            <c:spPr>
              <a:solidFill>
                <a:srgbClr val="00B050"/>
              </a:solidFill>
              <a:ln>
                <a:noFill/>
              </a:ln>
              <a:effectLst/>
            </c:spPr>
            <c:extLst>
              <c:ext xmlns:c16="http://schemas.microsoft.com/office/drawing/2014/chart" uri="{C3380CC4-5D6E-409C-BE32-E72D297353CC}">
                <c16:uniqueId val="{00000002-5891-4F0B-A228-892F27741AAC}"/>
              </c:ext>
            </c:extLst>
          </c:dPt>
          <c:dPt>
            <c:idx val="4"/>
            <c:invertIfNegative val="0"/>
            <c:bubble3D val="0"/>
            <c:spPr>
              <a:solidFill>
                <a:srgbClr val="00B050"/>
              </a:solidFill>
              <a:ln>
                <a:noFill/>
              </a:ln>
              <a:effectLst/>
            </c:spPr>
            <c:extLst>
              <c:ext xmlns:c16="http://schemas.microsoft.com/office/drawing/2014/chart" uri="{C3380CC4-5D6E-409C-BE32-E72D297353CC}">
                <c16:uniqueId val="{00000001-5891-4F0B-A228-892F27741AA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7:$A$32</c:f>
              <c:strCache>
                <c:ptCount val="5"/>
                <c:pt idx="0">
                  <c:v>Never</c:v>
                </c:pt>
                <c:pt idx="1">
                  <c:v>Rarely</c:v>
                </c:pt>
                <c:pt idx="2">
                  <c:v>Weekly</c:v>
                </c:pt>
                <c:pt idx="3">
                  <c:v>Multiple times a week</c:v>
                </c:pt>
                <c:pt idx="4">
                  <c:v>Daily</c:v>
                </c:pt>
              </c:strCache>
            </c:strRef>
          </c:cat>
          <c:val>
            <c:numRef>
              <c:f>Sheet2!$B$27:$B$32</c:f>
              <c:numCache>
                <c:formatCode>0%</c:formatCode>
                <c:ptCount val="5"/>
                <c:pt idx="0">
                  <c:v>0.35964912280701755</c:v>
                </c:pt>
                <c:pt idx="1">
                  <c:v>0.21929824561403508</c:v>
                </c:pt>
                <c:pt idx="2">
                  <c:v>0.16666666666666666</c:v>
                </c:pt>
                <c:pt idx="3">
                  <c:v>0.14035087719298245</c:v>
                </c:pt>
                <c:pt idx="4">
                  <c:v>0.11403508771929824</c:v>
                </c:pt>
              </c:numCache>
            </c:numRef>
          </c:val>
          <c:extLst>
            <c:ext xmlns:c16="http://schemas.microsoft.com/office/drawing/2014/chart" uri="{C3380CC4-5D6E-409C-BE32-E72D297353CC}">
              <c16:uniqueId val="{00000000-5891-4F0B-A228-892F27741AAC}"/>
            </c:ext>
          </c:extLst>
        </c:ser>
        <c:dLbls>
          <c:dLblPos val="outEnd"/>
          <c:showLegendKey val="0"/>
          <c:showVal val="1"/>
          <c:showCatName val="0"/>
          <c:showSerName val="0"/>
          <c:showPercent val="0"/>
          <c:showBubbleSize val="0"/>
        </c:dLbls>
        <c:gapWidth val="182"/>
        <c:axId val="1859048159"/>
        <c:axId val="1859035199"/>
      </c:barChart>
      <c:catAx>
        <c:axId val="18590481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859035199"/>
        <c:crosses val="autoZero"/>
        <c:auto val="1"/>
        <c:lblAlgn val="ctr"/>
        <c:lblOffset val="100"/>
        <c:noMultiLvlLbl val="0"/>
      </c:catAx>
      <c:valAx>
        <c:axId val="1859035199"/>
        <c:scaling>
          <c:orientation val="minMax"/>
        </c:scaling>
        <c:delete val="1"/>
        <c:axPos val="b"/>
        <c:numFmt formatCode="0%" sourceLinked="1"/>
        <c:majorTickMark val="none"/>
        <c:minorTickMark val="none"/>
        <c:tickLblPos val="nextTo"/>
        <c:crossAx val="185904815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6</c:name>
    <c:fmtId val="5"/>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H$11</c:f>
              <c:strCache>
                <c:ptCount val="1"/>
                <c:pt idx="0">
                  <c:v>Total</c:v>
                </c:pt>
              </c:strCache>
            </c:strRef>
          </c:tx>
          <c:spPr>
            <a:solidFill>
              <a:schemeClr val="accent1"/>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1-D6DE-42BF-8720-26E6EBDA952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G$12:$G$14</c:f>
              <c:strCache>
                <c:ptCount val="2"/>
                <c:pt idx="0">
                  <c:v>No</c:v>
                </c:pt>
                <c:pt idx="1">
                  <c:v>Yes</c:v>
                </c:pt>
              </c:strCache>
            </c:strRef>
          </c:cat>
          <c:val>
            <c:numRef>
              <c:f>Sheet2!$H$12:$H$14</c:f>
              <c:numCache>
                <c:formatCode>0%</c:formatCode>
                <c:ptCount val="2"/>
                <c:pt idx="0">
                  <c:v>0.33333333333333331</c:v>
                </c:pt>
                <c:pt idx="1">
                  <c:v>0.66666666666666663</c:v>
                </c:pt>
              </c:numCache>
            </c:numRef>
          </c:val>
          <c:extLst>
            <c:ext xmlns:c16="http://schemas.microsoft.com/office/drawing/2014/chart" uri="{C3380CC4-5D6E-409C-BE32-E72D297353CC}">
              <c16:uniqueId val="{00000000-D6DE-42BF-8720-26E6EBDA952C}"/>
            </c:ext>
          </c:extLst>
        </c:ser>
        <c:dLbls>
          <c:dLblPos val="outEnd"/>
          <c:showLegendKey val="0"/>
          <c:showVal val="1"/>
          <c:showCatName val="0"/>
          <c:showSerName val="0"/>
          <c:showPercent val="0"/>
          <c:showBubbleSize val="0"/>
        </c:dLbls>
        <c:gapWidth val="182"/>
        <c:axId val="1917629391"/>
        <c:axId val="1917633711"/>
      </c:barChart>
      <c:catAx>
        <c:axId val="19176293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917633711"/>
        <c:crosses val="autoZero"/>
        <c:auto val="1"/>
        <c:lblAlgn val="ctr"/>
        <c:lblOffset val="100"/>
        <c:noMultiLvlLbl val="0"/>
      </c:catAx>
      <c:valAx>
        <c:axId val="1917633711"/>
        <c:scaling>
          <c:orientation val="minMax"/>
        </c:scaling>
        <c:delete val="1"/>
        <c:axPos val="b"/>
        <c:numFmt formatCode="0%" sourceLinked="1"/>
        <c:majorTickMark val="none"/>
        <c:minorTickMark val="none"/>
        <c:tickLblPos val="nextTo"/>
        <c:crossAx val="191762939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5</c:name>
    <c:fmtId val="12"/>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H$3</c:f>
              <c:strCache>
                <c:ptCount val="1"/>
                <c:pt idx="0">
                  <c:v>Total</c:v>
                </c:pt>
              </c:strCache>
            </c:strRef>
          </c:tx>
          <c:spPr>
            <a:solidFill>
              <a:schemeClr val="accent1"/>
            </a:solidFill>
            <a:ln>
              <a:noFill/>
            </a:ln>
            <a:effectLst/>
          </c:spPr>
          <c:invertIfNegative val="0"/>
          <c:dPt>
            <c:idx val="2"/>
            <c:invertIfNegative val="0"/>
            <c:bubble3D val="0"/>
            <c:spPr>
              <a:solidFill>
                <a:srgbClr val="00B050"/>
              </a:solidFill>
              <a:ln>
                <a:noFill/>
              </a:ln>
              <a:effectLst/>
            </c:spPr>
            <c:extLst>
              <c:ext xmlns:c16="http://schemas.microsoft.com/office/drawing/2014/chart" uri="{C3380CC4-5D6E-409C-BE32-E72D297353CC}">
                <c16:uniqueId val="{00000002-296D-4805-BBC8-D5D40EC00506}"/>
              </c:ext>
            </c:extLst>
          </c:dPt>
          <c:dPt>
            <c:idx val="3"/>
            <c:invertIfNegative val="0"/>
            <c:bubble3D val="0"/>
            <c:spPr>
              <a:solidFill>
                <a:srgbClr val="00B050"/>
              </a:solidFill>
              <a:ln>
                <a:noFill/>
              </a:ln>
              <a:effectLst/>
            </c:spPr>
            <c:extLst>
              <c:ext xmlns:c16="http://schemas.microsoft.com/office/drawing/2014/chart" uri="{C3380CC4-5D6E-409C-BE32-E72D297353CC}">
                <c16:uniqueId val="{00000001-296D-4805-BBC8-D5D40EC0050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G$4:$G$8</c:f>
              <c:strCache>
                <c:ptCount val="4"/>
                <c:pt idx="0">
                  <c:v>Not at all</c:v>
                </c:pt>
                <c:pt idx="1">
                  <c:v>Bi-Weekly</c:v>
                </c:pt>
                <c:pt idx="2">
                  <c:v>Weekly</c:v>
                </c:pt>
                <c:pt idx="3">
                  <c:v>Daily</c:v>
                </c:pt>
              </c:strCache>
            </c:strRef>
          </c:cat>
          <c:val>
            <c:numRef>
              <c:f>Sheet2!$H$4:$H$8</c:f>
              <c:numCache>
                <c:formatCode>0%</c:formatCode>
                <c:ptCount val="4"/>
                <c:pt idx="0">
                  <c:v>0.25438596491228072</c:v>
                </c:pt>
                <c:pt idx="1">
                  <c:v>0.12280701754385964</c:v>
                </c:pt>
                <c:pt idx="2">
                  <c:v>0.43859649122807015</c:v>
                </c:pt>
                <c:pt idx="3">
                  <c:v>0.18421052631578946</c:v>
                </c:pt>
              </c:numCache>
            </c:numRef>
          </c:val>
          <c:extLst>
            <c:ext xmlns:c16="http://schemas.microsoft.com/office/drawing/2014/chart" uri="{C3380CC4-5D6E-409C-BE32-E72D297353CC}">
              <c16:uniqueId val="{00000000-296D-4805-BBC8-D5D40EC00506}"/>
            </c:ext>
          </c:extLst>
        </c:ser>
        <c:dLbls>
          <c:dLblPos val="outEnd"/>
          <c:showLegendKey val="0"/>
          <c:showVal val="1"/>
          <c:showCatName val="0"/>
          <c:showSerName val="0"/>
          <c:showPercent val="0"/>
          <c:showBubbleSize val="0"/>
        </c:dLbls>
        <c:gapWidth val="182"/>
        <c:axId val="2104902671"/>
        <c:axId val="2104908911"/>
      </c:barChart>
      <c:catAx>
        <c:axId val="210490267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2104908911"/>
        <c:crosses val="autoZero"/>
        <c:auto val="1"/>
        <c:lblAlgn val="ctr"/>
        <c:lblOffset val="100"/>
        <c:noMultiLvlLbl val="0"/>
      </c:catAx>
      <c:valAx>
        <c:axId val="2104908911"/>
        <c:scaling>
          <c:orientation val="minMax"/>
        </c:scaling>
        <c:delete val="1"/>
        <c:axPos val="b"/>
        <c:numFmt formatCode="0%" sourceLinked="1"/>
        <c:majorTickMark val="none"/>
        <c:minorTickMark val="none"/>
        <c:tickLblPos val="nextTo"/>
        <c:crossAx val="210490267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7</c:name>
    <c:fmtId val="4"/>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H$17</c:f>
              <c:strCache>
                <c:ptCount val="1"/>
                <c:pt idx="0">
                  <c:v>Total</c:v>
                </c:pt>
              </c:strCache>
            </c:strRef>
          </c:tx>
          <c:spPr>
            <a:solidFill>
              <a:schemeClr val="accent1"/>
            </a:solidFill>
            <a:ln>
              <a:noFill/>
            </a:ln>
            <a:effectLst/>
          </c:spPr>
          <c:invertIfNegative val="0"/>
          <c:dPt>
            <c:idx val="1"/>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1-1607-4BED-92FB-9900D26E9C8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G$18:$G$20</c:f>
              <c:strCache>
                <c:ptCount val="2"/>
                <c:pt idx="0">
                  <c:v>CW1</c:v>
                </c:pt>
                <c:pt idx="1">
                  <c:v>File Healer App</c:v>
                </c:pt>
              </c:strCache>
            </c:strRef>
          </c:cat>
          <c:val>
            <c:numRef>
              <c:f>Sheet2!$H$18:$H$20</c:f>
              <c:numCache>
                <c:formatCode>0%</c:formatCode>
                <c:ptCount val="2"/>
                <c:pt idx="0">
                  <c:v>0.83333333333333337</c:v>
                </c:pt>
                <c:pt idx="1">
                  <c:v>0.16666666666666666</c:v>
                </c:pt>
              </c:numCache>
            </c:numRef>
          </c:val>
          <c:extLst>
            <c:ext xmlns:c16="http://schemas.microsoft.com/office/drawing/2014/chart" uri="{C3380CC4-5D6E-409C-BE32-E72D297353CC}">
              <c16:uniqueId val="{00000000-1607-4BED-92FB-9900D26E9C8B}"/>
            </c:ext>
          </c:extLst>
        </c:ser>
        <c:dLbls>
          <c:dLblPos val="outEnd"/>
          <c:showLegendKey val="0"/>
          <c:showVal val="1"/>
          <c:showCatName val="0"/>
          <c:showSerName val="0"/>
          <c:showPercent val="0"/>
          <c:showBubbleSize val="0"/>
        </c:dLbls>
        <c:gapWidth val="182"/>
        <c:axId val="2104919951"/>
        <c:axId val="2104904591"/>
      </c:barChart>
      <c:catAx>
        <c:axId val="21049199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2104904591"/>
        <c:crosses val="autoZero"/>
        <c:auto val="1"/>
        <c:lblAlgn val="ctr"/>
        <c:lblOffset val="100"/>
        <c:noMultiLvlLbl val="0"/>
      </c:catAx>
      <c:valAx>
        <c:axId val="2104904591"/>
        <c:scaling>
          <c:orientation val="minMax"/>
        </c:scaling>
        <c:delete val="1"/>
        <c:axPos val="b"/>
        <c:numFmt formatCode="0%" sourceLinked="1"/>
        <c:majorTickMark val="none"/>
        <c:minorTickMark val="none"/>
        <c:tickLblPos val="nextTo"/>
        <c:crossAx val="21049199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15</c:name>
    <c:fmtId val="3"/>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T$22</c:f>
              <c:strCache>
                <c:ptCount val="1"/>
                <c:pt idx="0">
                  <c:v>Total</c:v>
                </c:pt>
              </c:strCache>
            </c:strRef>
          </c:tx>
          <c:spPr>
            <a:solidFill>
              <a:schemeClr val="accent1"/>
            </a:solidFill>
            <a:ln>
              <a:noFill/>
            </a:ln>
            <a:effectLst/>
          </c:spPr>
          <c:invertIfNegative val="0"/>
          <c:dPt>
            <c:idx val="3"/>
            <c:invertIfNegative val="0"/>
            <c:bubble3D val="0"/>
            <c:spPr>
              <a:solidFill>
                <a:srgbClr val="00B050"/>
              </a:solidFill>
              <a:ln>
                <a:noFill/>
              </a:ln>
              <a:effectLst/>
            </c:spPr>
            <c:extLst>
              <c:ext xmlns:c16="http://schemas.microsoft.com/office/drawing/2014/chart" uri="{C3380CC4-5D6E-409C-BE32-E72D297353CC}">
                <c16:uniqueId val="{00000001-CC12-4145-8AC6-98C818D3862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23:$S$27</c:f>
              <c:strCache>
                <c:ptCount val="4"/>
                <c:pt idx="0">
                  <c:v>No improvement</c:v>
                </c:pt>
                <c:pt idx="1">
                  <c:v>Not really</c:v>
                </c:pt>
                <c:pt idx="2">
                  <c:v>Partially</c:v>
                </c:pt>
                <c:pt idx="3">
                  <c:v>Significantly</c:v>
                </c:pt>
              </c:strCache>
            </c:strRef>
          </c:cat>
          <c:val>
            <c:numRef>
              <c:f>Sheet2!$T$23:$T$27</c:f>
              <c:numCache>
                <c:formatCode>0%</c:formatCode>
                <c:ptCount val="4"/>
                <c:pt idx="0">
                  <c:v>4.3859649122807015E-2</c:v>
                </c:pt>
                <c:pt idx="1">
                  <c:v>0.18421052631578946</c:v>
                </c:pt>
                <c:pt idx="2">
                  <c:v>0.43859649122807015</c:v>
                </c:pt>
                <c:pt idx="3">
                  <c:v>0.33333333333333331</c:v>
                </c:pt>
              </c:numCache>
            </c:numRef>
          </c:val>
          <c:extLst>
            <c:ext xmlns:c16="http://schemas.microsoft.com/office/drawing/2014/chart" uri="{C3380CC4-5D6E-409C-BE32-E72D297353CC}">
              <c16:uniqueId val="{00000000-CC12-4145-8AC6-98C818D38627}"/>
            </c:ext>
          </c:extLst>
        </c:ser>
        <c:dLbls>
          <c:dLblPos val="outEnd"/>
          <c:showLegendKey val="0"/>
          <c:showVal val="1"/>
          <c:showCatName val="0"/>
          <c:showSerName val="0"/>
          <c:showPercent val="0"/>
          <c:showBubbleSize val="0"/>
        </c:dLbls>
        <c:gapWidth val="182"/>
        <c:axId val="884103151"/>
        <c:axId val="884116111"/>
      </c:barChart>
      <c:catAx>
        <c:axId val="8841031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884116111"/>
        <c:crosses val="autoZero"/>
        <c:auto val="1"/>
        <c:lblAlgn val="ctr"/>
        <c:lblOffset val="100"/>
        <c:noMultiLvlLbl val="0"/>
      </c:catAx>
      <c:valAx>
        <c:axId val="884116111"/>
        <c:scaling>
          <c:orientation val="minMax"/>
        </c:scaling>
        <c:delete val="1"/>
        <c:axPos val="b"/>
        <c:numFmt formatCode="0%" sourceLinked="1"/>
        <c:majorTickMark val="none"/>
        <c:minorTickMark val="none"/>
        <c:tickLblPos val="nextTo"/>
        <c:crossAx val="88410315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Sick Files Survey(1-114).xlsx]Sheet2!PivotTable16</c:name>
    <c:fmtId val="4"/>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Sheet2!$T$30</c:f>
              <c:strCache>
                <c:ptCount val="1"/>
                <c:pt idx="0">
                  <c:v>Total</c:v>
                </c:pt>
              </c:strCache>
            </c:strRef>
          </c:tx>
          <c:spPr>
            <a:solidFill>
              <a:schemeClr val="accent1"/>
            </a:solidFill>
            <a:ln>
              <a:noFill/>
            </a:ln>
            <a:effectLst/>
          </c:spPr>
          <c:invertIfNegative val="0"/>
          <c:dPt>
            <c:idx val="3"/>
            <c:invertIfNegative val="0"/>
            <c:bubble3D val="0"/>
            <c:spPr>
              <a:solidFill>
                <a:srgbClr val="00B050"/>
              </a:solidFill>
              <a:ln>
                <a:noFill/>
              </a:ln>
              <a:effectLst/>
            </c:spPr>
            <c:extLst>
              <c:ext xmlns:c16="http://schemas.microsoft.com/office/drawing/2014/chart" uri="{C3380CC4-5D6E-409C-BE32-E72D297353CC}">
                <c16:uniqueId val="{00000002-84D6-45F2-B259-1B3D2A20119F}"/>
              </c:ext>
            </c:extLst>
          </c:dPt>
          <c:dPt>
            <c:idx val="4"/>
            <c:invertIfNegative val="0"/>
            <c:bubble3D val="0"/>
            <c:spPr>
              <a:solidFill>
                <a:srgbClr val="00B050"/>
              </a:solidFill>
              <a:ln>
                <a:noFill/>
              </a:ln>
              <a:effectLst/>
            </c:spPr>
            <c:extLst>
              <c:ext xmlns:c16="http://schemas.microsoft.com/office/drawing/2014/chart" uri="{C3380CC4-5D6E-409C-BE32-E72D297353CC}">
                <c16:uniqueId val="{00000001-84D6-45F2-B259-1B3D2A20119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31:$S$36</c:f>
              <c:strCache>
                <c:ptCount val="5"/>
                <c:pt idx="0">
                  <c:v>Very Dissatisfied</c:v>
                </c:pt>
                <c:pt idx="1">
                  <c:v>Dissatisfied</c:v>
                </c:pt>
                <c:pt idx="2">
                  <c:v>Neutral</c:v>
                </c:pt>
                <c:pt idx="3">
                  <c:v>Satisfied</c:v>
                </c:pt>
                <c:pt idx="4">
                  <c:v>Very Satisfied</c:v>
                </c:pt>
              </c:strCache>
            </c:strRef>
          </c:cat>
          <c:val>
            <c:numRef>
              <c:f>Sheet2!$T$31:$T$36</c:f>
              <c:numCache>
                <c:formatCode>0%</c:formatCode>
                <c:ptCount val="5"/>
                <c:pt idx="0">
                  <c:v>3.5087719298245612E-2</c:v>
                </c:pt>
                <c:pt idx="1">
                  <c:v>4.3859649122807015E-2</c:v>
                </c:pt>
                <c:pt idx="2">
                  <c:v>0.52631578947368418</c:v>
                </c:pt>
                <c:pt idx="3">
                  <c:v>0.33333333333333331</c:v>
                </c:pt>
                <c:pt idx="4">
                  <c:v>6.1403508771929821E-2</c:v>
                </c:pt>
              </c:numCache>
            </c:numRef>
          </c:val>
          <c:extLst>
            <c:ext xmlns:c16="http://schemas.microsoft.com/office/drawing/2014/chart" uri="{C3380CC4-5D6E-409C-BE32-E72D297353CC}">
              <c16:uniqueId val="{00000000-84D6-45F2-B259-1B3D2A20119F}"/>
            </c:ext>
          </c:extLst>
        </c:ser>
        <c:dLbls>
          <c:dLblPos val="outEnd"/>
          <c:showLegendKey val="0"/>
          <c:showVal val="1"/>
          <c:showCatName val="0"/>
          <c:showSerName val="0"/>
          <c:showPercent val="0"/>
          <c:showBubbleSize val="0"/>
        </c:dLbls>
        <c:gapWidth val="182"/>
        <c:axId val="2104923311"/>
        <c:axId val="2104897871"/>
      </c:barChart>
      <c:catAx>
        <c:axId val="2104923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2104897871"/>
        <c:crosses val="autoZero"/>
        <c:auto val="1"/>
        <c:lblAlgn val="ctr"/>
        <c:lblOffset val="100"/>
        <c:noMultiLvlLbl val="0"/>
      </c:catAx>
      <c:valAx>
        <c:axId val="2104897871"/>
        <c:scaling>
          <c:orientation val="minMax"/>
        </c:scaling>
        <c:delete val="1"/>
        <c:axPos val="b"/>
        <c:numFmt formatCode="0%" sourceLinked="1"/>
        <c:majorTickMark val="none"/>
        <c:minorTickMark val="none"/>
        <c:tickLblPos val="nextTo"/>
        <c:crossAx val="210492331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NL"/>
    </a:p>
  </c:txPr>
  <c:externalData r:id="rId3">
    <c:autoUpdate val="0"/>
  </c:externalData>
  <c:extLst>
    <c:ext xmlns:c14="http://schemas.microsoft.com/office/drawing/2007/8/2/chart" uri="{781A3756-C4B2-4CAC-9D66-4F8BD8637D16}">
      <c14:pivotOptions>
        <c14:dropZoneFilter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79651D-756A-48B3-B885-06F6426EEF91}" type="datetimeFigureOut">
              <a:rPr lang="en-NL" smtClean="0"/>
              <a:t>01/10/2025</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ABFA24-D64C-4D6A-B446-6A0B5FDE0C31}" type="slidenum">
              <a:rPr lang="en-NL" smtClean="0"/>
              <a:t>‹#›</a:t>
            </a:fld>
            <a:endParaRPr lang="en-NL"/>
          </a:p>
        </p:txBody>
      </p:sp>
    </p:spTree>
    <p:extLst>
      <p:ext uri="{BB962C8B-B14F-4D97-AF65-F5344CB8AC3E}">
        <p14:creationId xmlns:p14="http://schemas.microsoft.com/office/powerpoint/2010/main" val="3737621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42552A9-008D-2445-BDF6-2A83C1ABEBA5}" type="slidenum">
              <a:rPr lang="en-US" smtClean="0"/>
              <a:pPr/>
              <a:t>7</a:t>
            </a:fld>
            <a:endParaRPr lang="en-US"/>
          </a:p>
        </p:txBody>
      </p:sp>
    </p:spTree>
    <p:extLst>
      <p:ext uri="{BB962C8B-B14F-4D97-AF65-F5344CB8AC3E}">
        <p14:creationId xmlns:p14="http://schemas.microsoft.com/office/powerpoint/2010/main" val="1350929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p:cNvSpPr>
            <a:spLocks noGrp="1" noRot="1" noChangeAspect="1" noTextEdit="1"/>
          </p:cNvSpPr>
          <p:nvPr>
            <p:ph type="sldImg"/>
          </p:nvPr>
        </p:nvSpPr>
        <p:spPr>
          <a:ln/>
        </p:spPr>
      </p:sp>
      <p:sp>
        <p:nvSpPr>
          <p:cNvPr id="168963" name="Notes Placeholder 2"/>
          <p:cNvSpPr>
            <a:spLocks noGrp="1"/>
          </p:cNvSpPr>
          <p:nvPr>
            <p:ph type="body" idx="1"/>
          </p:nvPr>
        </p:nvSpPr>
        <p:spPr>
          <a:xfrm>
            <a:off x="999196" y="4688787"/>
            <a:ext cx="4799284" cy="4442860"/>
          </a:xfrm>
          <a:noFill/>
          <a:ln/>
        </p:spPr>
        <p:txBody>
          <a:bodyPr/>
          <a:lstStyle/>
          <a:p>
            <a:r>
              <a:rPr lang="en-GB" dirty="0">
                <a:cs typeface="Arial" pitchFamily="34" charset="0"/>
              </a:rPr>
              <a:t>Saw tooth line:</a:t>
            </a:r>
          </a:p>
          <a:p>
            <a:r>
              <a:rPr lang="en-GB" dirty="0">
                <a:cs typeface="Arial" pitchFamily="34" charset="0"/>
              </a:rPr>
              <a:t>After a process improvement we can often observe that without standard work, the improved performance falls away over time, resulting in further process improvement work being required to get performance back to the initial level. </a:t>
            </a:r>
          </a:p>
          <a:p>
            <a:r>
              <a:rPr lang="en-GB" dirty="0">
                <a:cs typeface="Arial" pitchFamily="34" charset="0"/>
              </a:rPr>
              <a:t>Stair case line:</a:t>
            </a:r>
          </a:p>
          <a:p>
            <a:r>
              <a:rPr lang="en-GB" dirty="0">
                <a:cs typeface="Arial" pitchFamily="34" charset="0"/>
              </a:rPr>
              <a:t>However if the standard work is embedded it gives a platform for further continuous improvement to take performance to a new higher level.</a:t>
            </a:r>
          </a:p>
        </p:txBody>
      </p:sp>
      <p:sp>
        <p:nvSpPr>
          <p:cNvPr id="168964" name="Slide Number Placeholder 3"/>
          <p:cNvSpPr>
            <a:spLocks noGrp="1"/>
          </p:cNvSpPr>
          <p:nvPr>
            <p:ph type="sldNum" sz="quarter" idx="5"/>
          </p:nvPr>
        </p:nvSpPr>
        <p:spPr>
          <a:no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9CA038-F7E7-49AD-A9BC-1E09BD06132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02337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
    <p:bg>
      <p:bgPr>
        <a:solidFill>
          <a:schemeClr val="accent1"/>
        </a:solidFill>
        <a:effectLst/>
      </p:bgPr>
    </p:bg>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BF8EABB9-2726-EF25-A159-0DADAA8F8337}"/>
              </a:ext>
            </a:extLst>
          </p:cNvPr>
          <p:cNvSpPr/>
          <p:nvPr userDrawn="1"/>
        </p:nvSpPr>
        <p:spPr>
          <a:xfrm>
            <a:off x="10091738" y="5721531"/>
            <a:ext cx="1847713" cy="44431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001" sz="2000" noProof="0" dirty="0" err="1"/>
          </a:p>
        </p:txBody>
      </p:sp>
      <p:pic>
        <p:nvPicPr>
          <p:cNvPr id="54" name="Graphic 53">
            <a:extLst>
              <a:ext uri="{FF2B5EF4-FFF2-40B4-BE49-F238E27FC236}">
                <a16:creationId xmlns:a16="http://schemas.microsoft.com/office/drawing/2014/main" id="{437E6E57-6C0D-F296-9901-9A036BA9AA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5600" y="5731764"/>
            <a:ext cx="1863471" cy="459486"/>
          </a:xfrm>
          <a:prstGeom prst="rect">
            <a:avLst/>
          </a:prstGeom>
        </p:spPr>
      </p:pic>
      <p:sp>
        <p:nvSpPr>
          <p:cNvPr id="53" name="Picture Placeholder 52">
            <a:extLst>
              <a:ext uri="{FF2B5EF4-FFF2-40B4-BE49-F238E27FC236}">
                <a16:creationId xmlns:a16="http://schemas.microsoft.com/office/drawing/2014/main" id="{8E3190AD-F65F-D344-41C3-4517CA239196}"/>
              </a:ext>
            </a:extLst>
          </p:cNvPr>
          <p:cNvSpPr>
            <a:spLocks noGrp="1"/>
          </p:cNvSpPr>
          <p:nvPr>
            <p:ph type="pic" sz="quarter" idx="13" hasCustomPrompt="1"/>
          </p:nvPr>
        </p:nvSpPr>
        <p:spPr>
          <a:xfrm>
            <a:off x="0" y="0"/>
            <a:ext cx="12193200" cy="6861600"/>
          </a:xfrm>
          <a:custGeom>
            <a:avLst/>
            <a:gdLst>
              <a:gd name="connsiteX0" fmla="*/ 1656213 w 12193200"/>
              <a:gd name="connsiteY0" fmla="*/ 5905985 h 6861600"/>
              <a:gd name="connsiteX1" fmla="*/ 1746524 w 12193200"/>
              <a:gd name="connsiteY1" fmla="*/ 5905985 h 6861600"/>
              <a:gd name="connsiteX2" fmla="*/ 1746524 w 12193200"/>
              <a:gd name="connsiteY2" fmla="*/ 5953848 h 6861600"/>
              <a:gd name="connsiteX3" fmla="*/ 1656213 w 12193200"/>
              <a:gd name="connsiteY3" fmla="*/ 5953848 h 6861600"/>
              <a:gd name="connsiteX4" fmla="*/ 1279703 w 12193200"/>
              <a:gd name="connsiteY4" fmla="*/ 5904070 h 6861600"/>
              <a:gd name="connsiteX5" fmla="*/ 1311503 w 12193200"/>
              <a:gd name="connsiteY5" fmla="*/ 5982566 h 6861600"/>
              <a:gd name="connsiteX6" fmla="*/ 1247904 w 12193200"/>
              <a:gd name="connsiteY6" fmla="*/ 5982566 h 6861600"/>
              <a:gd name="connsiteX7" fmla="*/ 11590810 w 12193200"/>
              <a:gd name="connsiteY7" fmla="*/ 5903366 h 6861600"/>
              <a:gd name="connsiteX8" fmla="*/ 11609065 w 12193200"/>
              <a:gd name="connsiteY8" fmla="*/ 5903366 h 6861600"/>
              <a:gd name="connsiteX9" fmla="*/ 11621841 w 12193200"/>
              <a:gd name="connsiteY9" fmla="*/ 5970409 h 6861600"/>
              <a:gd name="connsiteX10" fmla="*/ 11578548 w 12193200"/>
              <a:gd name="connsiteY10" fmla="*/ 5970409 h 6861600"/>
              <a:gd name="connsiteX11" fmla="*/ 10356904 w 12193200"/>
              <a:gd name="connsiteY11" fmla="*/ 5903366 h 6861600"/>
              <a:gd name="connsiteX12" fmla="*/ 10375160 w 12193200"/>
              <a:gd name="connsiteY12" fmla="*/ 5903366 h 6861600"/>
              <a:gd name="connsiteX13" fmla="*/ 10387940 w 12193200"/>
              <a:gd name="connsiteY13" fmla="*/ 5970409 h 6861600"/>
              <a:gd name="connsiteX14" fmla="*/ 10344647 w 12193200"/>
              <a:gd name="connsiteY14" fmla="*/ 5970409 h 6861600"/>
              <a:gd name="connsiteX15" fmla="*/ 2034631 w 12193200"/>
              <a:gd name="connsiteY15" fmla="*/ 5870247 h 6861600"/>
              <a:gd name="connsiteX16" fmla="*/ 2034631 w 12193200"/>
              <a:gd name="connsiteY16" fmla="*/ 6053403 h 6861600"/>
              <a:gd name="connsiteX17" fmla="*/ 2078515 w 12193200"/>
              <a:gd name="connsiteY17" fmla="*/ 6053403 h 6861600"/>
              <a:gd name="connsiteX18" fmla="*/ 2078515 w 12193200"/>
              <a:gd name="connsiteY18" fmla="*/ 5969164 h 6861600"/>
              <a:gd name="connsiteX19" fmla="*/ 2161194 w 12193200"/>
              <a:gd name="connsiteY19" fmla="*/ 6053403 h 6861600"/>
              <a:gd name="connsiteX20" fmla="*/ 2221614 w 12193200"/>
              <a:gd name="connsiteY20" fmla="*/ 6053403 h 6861600"/>
              <a:gd name="connsiteX21" fmla="*/ 2121763 w 12193200"/>
              <a:gd name="connsiteY21" fmla="*/ 5955762 h 6861600"/>
              <a:gd name="connsiteX22" fmla="*/ 2217798 w 12193200"/>
              <a:gd name="connsiteY22" fmla="*/ 5870247 h 6861600"/>
              <a:gd name="connsiteX23" fmla="*/ 2159286 w 12193200"/>
              <a:gd name="connsiteY23" fmla="*/ 5870247 h 6861600"/>
              <a:gd name="connsiteX24" fmla="*/ 2078515 w 12193200"/>
              <a:gd name="connsiteY24" fmla="*/ 5944275 h 6861600"/>
              <a:gd name="connsiteX25" fmla="*/ 2078515 w 12193200"/>
              <a:gd name="connsiteY25" fmla="*/ 5870247 h 6861600"/>
              <a:gd name="connsiteX26" fmla="*/ 1612965 w 12193200"/>
              <a:gd name="connsiteY26" fmla="*/ 5870247 h 6861600"/>
              <a:gd name="connsiteX27" fmla="*/ 1612965 w 12193200"/>
              <a:gd name="connsiteY27" fmla="*/ 6053403 h 6861600"/>
              <a:gd name="connsiteX28" fmla="*/ 1656213 w 12193200"/>
              <a:gd name="connsiteY28" fmla="*/ 6053403 h 6861600"/>
              <a:gd name="connsiteX29" fmla="*/ 1656213 w 12193200"/>
              <a:gd name="connsiteY29" fmla="*/ 5990224 h 6861600"/>
              <a:gd name="connsiteX30" fmla="*/ 1703277 w 12193200"/>
              <a:gd name="connsiteY30" fmla="*/ 5990224 h 6861600"/>
              <a:gd name="connsiteX31" fmla="*/ 1742708 w 12193200"/>
              <a:gd name="connsiteY31" fmla="*/ 6053403 h 6861600"/>
              <a:gd name="connsiteX32" fmla="*/ 1789772 w 12193200"/>
              <a:gd name="connsiteY32" fmla="*/ 6053403 h 6861600"/>
              <a:gd name="connsiteX33" fmla="*/ 1748432 w 12193200"/>
              <a:gd name="connsiteY33" fmla="*/ 5990224 h 6861600"/>
              <a:gd name="connsiteX34" fmla="*/ 1752248 w 12193200"/>
              <a:gd name="connsiteY34" fmla="*/ 5990224 h 6861600"/>
              <a:gd name="connsiteX35" fmla="*/ 1787864 w 12193200"/>
              <a:gd name="connsiteY35" fmla="*/ 5961506 h 6861600"/>
              <a:gd name="connsiteX36" fmla="*/ 1787864 w 12193200"/>
              <a:gd name="connsiteY36" fmla="*/ 5900879 h 6861600"/>
              <a:gd name="connsiteX37" fmla="*/ 1757972 w 12193200"/>
              <a:gd name="connsiteY37" fmla="*/ 5870247 h 6861600"/>
              <a:gd name="connsiteX38" fmla="*/ 1407538 w 12193200"/>
              <a:gd name="connsiteY38" fmla="*/ 5870247 h 6861600"/>
              <a:gd name="connsiteX39" fmla="*/ 1407538 w 12193200"/>
              <a:gd name="connsiteY39" fmla="*/ 6053403 h 6861600"/>
              <a:gd name="connsiteX40" fmla="*/ 1581165 w 12193200"/>
              <a:gd name="connsiteY40" fmla="*/ 6053403 h 6861600"/>
              <a:gd name="connsiteX41" fmla="*/ 1581165 w 12193200"/>
              <a:gd name="connsiteY41" fmla="*/ 6017027 h 6861600"/>
              <a:gd name="connsiteX42" fmla="*/ 1448878 w 12193200"/>
              <a:gd name="connsiteY42" fmla="*/ 6017027 h 6861600"/>
              <a:gd name="connsiteX43" fmla="*/ 1448878 w 12193200"/>
              <a:gd name="connsiteY43" fmla="*/ 5978737 h 6861600"/>
              <a:gd name="connsiteX44" fmla="*/ 1562085 w 12193200"/>
              <a:gd name="connsiteY44" fmla="*/ 5978737 h 6861600"/>
              <a:gd name="connsiteX45" fmla="*/ 1562085 w 12193200"/>
              <a:gd name="connsiteY45" fmla="*/ 5942361 h 6861600"/>
              <a:gd name="connsiteX46" fmla="*/ 1448878 w 12193200"/>
              <a:gd name="connsiteY46" fmla="*/ 5942361 h 6861600"/>
              <a:gd name="connsiteX47" fmla="*/ 1448878 w 12193200"/>
              <a:gd name="connsiteY47" fmla="*/ 5905985 h 6861600"/>
              <a:gd name="connsiteX48" fmla="*/ 1579257 w 12193200"/>
              <a:gd name="connsiteY48" fmla="*/ 5905985 h 6861600"/>
              <a:gd name="connsiteX49" fmla="*/ 1579257 w 12193200"/>
              <a:gd name="connsiteY49" fmla="*/ 5870247 h 6861600"/>
              <a:gd name="connsiteX50" fmla="*/ 1251084 w 12193200"/>
              <a:gd name="connsiteY50" fmla="*/ 5870247 h 6861600"/>
              <a:gd name="connsiteX51" fmla="*/ 1170312 w 12193200"/>
              <a:gd name="connsiteY51" fmla="*/ 6053403 h 6861600"/>
              <a:gd name="connsiteX52" fmla="*/ 1217376 w 12193200"/>
              <a:gd name="connsiteY52" fmla="*/ 6053403 h 6861600"/>
              <a:gd name="connsiteX53" fmla="*/ 1232640 w 12193200"/>
              <a:gd name="connsiteY53" fmla="*/ 6017027 h 6861600"/>
              <a:gd name="connsiteX54" fmla="*/ 1326767 w 12193200"/>
              <a:gd name="connsiteY54" fmla="*/ 6017027 h 6861600"/>
              <a:gd name="connsiteX55" fmla="*/ 1343939 w 12193200"/>
              <a:gd name="connsiteY55" fmla="*/ 6053403 h 6861600"/>
              <a:gd name="connsiteX56" fmla="*/ 1389095 w 12193200"/>
              <a:gd name="connsiteY56" fmla="*/ 6053403 h 6861600"/>
              <a:gd name="connsiteX57" fmla="*/ 1307687 w 12193200"/>
              <a:gd name="connsiteY57" fmla="*/ 5870247 h 6861600"/>
              <a:gd name="connsiteX58" fmla="*/ 938809 w 12193200"/>
              <a:gd name="connsiteY58" fmla="*/ 5870247 h 6861600"/>
              <a:gd name="connsiteX59" fmla="*/ 938809 w 12193200"/>
              <a:gd name="connsiteY59" fmla="*/ 6053403 h 6861600"/>
              <a:gd name="connsiteX60" fmla="*/ 978241 w 12193200"/>
              <a:gd name="connsiteY60" fmla="*/ 6053403 h 6861600"/>
              <a:gd name="connsiteX61" fmla="*/ 978241 w 12193200"/>
              <a:gd name="connsiteY61" fmla="*/ 5948104 h 6861600"/>
              <a:gd name="connsiteX62" fmla="*/ 1025305 w 12193200"/>
              <a:gd name="connsiteY62" fmla="*/ 6053403 h 6861600"/>
              <a:gd name="connsiteX63" fmla="*/ 1066644 w 12193200"/>
              <a:gd name="connsiteY63" fmla="*/ 6053403 h 6861600"/>
              <a:gd name="connsiteX64" fmla="*/ 1113708 w 12193200"/>
              <a:gd name="connsiteY64" fmla="*/ 5946190 h 6861600"/>
              <a:gd name="connsiteX65" fmla="*/ 1113708 w 12193200"/>
              <a:gd name="connsiteY65" fmla="*/ 6053403 h 6861600"/>
              <a:gd name="connsiteX66" fmla="*/ 1153140 w 12193200"/>
              <a:gd name="connsiteY66" fmla="*/ 6053403 h 6861600"/>
              <a:gd name="connsiteX67" fmla="*/ 1153140 w 12193200"/>
              <a:gd name="connsiteY67" fmla="*/ 5870247 h 6861600"/>
              <a:gd name="connsiteX68" fmla="*/ 1106076 w 12193200"/>
              <a:gd name="connsiteY68" fmla="*/ 5870247 h 6861600"/>
              <a:gd name="connsiteX69" fmla="*/ 1045657 w 12193200"/>
              <a:gd name="connsiteY69" fmla="*/ 6007455 h 6861600"/>
              <a:gd name="connsiteX70" fmla="*/ 985873 w 12193200"/>
              <a:gd name="connsiteY70" fmla="*/ 5870247 h 6861600"/>
              <a:gd name="connsiteX71" fmla="*/ 1852100 w 12193200"/>
              <a:gd name="connsiteY71" fmla="*/ 5869609 h 6861600"/>
              <a:gd name="connsiteX72" fmla="*/ 1824116 w 12193200"/>
              <a:gd name="connsiteY72" fmla="*/ 5898327 h 6861600"/>
              <a:gd name="connsiteX73" fmla="*/ 1824116 w 12193200"/>
              <a:gd name="connsiteY73" fmla="*/ 5951934 h 6861600"/>
              <a:gd name="connsiteX74" fmla="*/ 1852100 w 12193200"/>
              <a:gd name="connsiteY74" fmla="*/ 5978737 h 6861600"/>
              <a:gd name="connsiteX75" fmla="*/ 1953859 w 12193200"/>
              <a:gd name="connsiteY75" fmla="*/ 5978737 h 6861600"/>
              <a:gd name="connsiteX76" fmla="*/ 1953859 w 12193200"/>
              <a:gd name="connsiteY76" fmla="*/ 6017027 h 6861600"/>
              <a:gd name="connsiteX77" fmla="*/ 1865456 w 12193200"/>
              <a:gd name="connsiteY77" fmla="*/ 6017027 h 6861600"/>
              <a:gd name="connsiteX78" fmla="*/ 1865456 w 12193200"/>
              <a:gd name="connsiteY78" fmla="*/ 6003626 h 6861600"/>
              <a:gd name="connsiteX79" fmla="*/ 1822208 w 12193200"/>
              <a:gd name="connsiteY79" fmla="*/ 6003626 h 6861600"/>
              <a:gd name="connsiteX80" fmla="*/ 1822208 w 12193200"/>
              <a:gd name="connsiteY80" fmla="*/ 6026600 h 6861600"/>
              <a:gd name="connsiteX81" fmla="*/ 1850192 w 12193200"/>
              <a:gd name="connsiteY81" fmla="*/ 6053403 h 6861600"/>
              <a:gd name="connsiteX82" fmla="*/ 1865456 w 12193200"/>
              <a:gd name="connsiteY82" fmla="*/ 6053403 h 6861600"/>
              <a:gd name="connsiteX83" fmla="*/ 1967215 w 12193200"/>
              <a:gd name="connsiteY83" fmla="*/ 6053403 h 6861600"/>
              <a:gd name="connsiteX84" fmla="*/ 1995199 w 12193200"/>
              <a:gd name="connsiteY84" fmla="*/ 6024686 h 6861600"/>
              <a:gd name="connsiteX85" fmla="*/ 1995199 w 12193200"/>
              <a:gd name="connsiteY85" fmla="*/ 5972993 h 6861600"/>
              <a:gd name="connsiteX86" fmla="*/ 1967215 w 12193200"/>
              <a:gd name="connsiteY86" fmla="*/ 5942361 h 6861600"/>
              <a:gd name="connsiteX87" fmla="*/ 1865456 w 12193200"/>
              <a:gd name="connsiteY87" fmla="*/ 5942361 h 6861600"/>
              <a:gd name="connsiteX88" fmla="*/ 1865456 w 12193200"/>
              <a:gd name="connsiteY88" fmla="*/ 5905985 h 6861600"/>
              <a:gd name="connsiteX89" fmla="*/ 1953859 w 12193200"/>
              <a:gd name="connsiteY89" fmla="*/ 5905985 h 6861600"/>
              <a:gd name="connsiteX90" fmla="*/ 1953859 w 12193200"/>
              <a:gd name="connsiteY90" fmla="*/ 5921301 h 6861600"/>
              <a:gd name="connsiteX91" fmla="*/ 1995199 w 12193200"/>
              <a:gd name="connsiteY91" fmla="*/ 5921301 h 6861600"/>
              <a:gd name="connsiteX92" fmla="*/ 1995199 w 12193200"/>
              <a:gd name="connsiteY92" fmla="*/ 5900241 h 6861600"/>
              <a:gd name="connsiteX93" fmla="*/ 1969123 w 12193200"/>
              <a:gd name="connsiteY93" fmla="*/ 5869609 h 6861600"/>
              <a:gd name="connsiteX94" fmla="*/ 11668273 w 12193200"/>
              <a:gd name="connsiteY94" fmla="*/ 5868556 h 6861600"/>
              <a:gd name="connsiteX95" fmla="*/ 11723299 w 12193200"/>
              <a:gd name="connsiteY95" fmla="*/ 5983559 h 6861600"/>
              <a:gd name="connsiteX96" fmla="*/ 11723299 w 12193200"/>
              <a:gd name="connsiteY96" fmla="*/ 6049054 h 6861600"/>
              <a:gd name="connsiteX97" fmla="*/ 11765029 w 12193200"/>
              <a:gd name="connsiteY97" fmla="*/ 6049054 h 6861600"/>
              <a:gd name="connsiteX98" fmla="*/ 11765029 w 12193200"/>
              <a:gd name="connsiteY98" fmla="*/ 5983559 h 6861600"/>
              <a:gd name="connsiteX99" fmla="*/ 11820060 w 12193200"/>
              <a:gd name="connsiteY99" fmla="*/ 5868556 h 6861600"/>
              <a:gd name="connsiteX100" fmla="*/ 11777026 w 12193200"/>
              <a:gd name="connsiteY100" fmla="*/ 5868556 h 6861600"/>
              <a:gd name="connsiteX101" fmla="*/ 11744427 w 12193200"/>
              <a:gd name="connsiteY101" fmla="*/ 5945396 h 6861600"/>
              <a:gd name="connsiteX102" fmla="*/ 11711566 w 12193200"/>
              <a:gd name="connsiteY102" fmla="*/ 5868556 h 6861600"/>
              <a:gd name="connsiteX103" fmla="*/ 11569685 w 12193200"/>
              <a:gd name="connsiteY103" fmla="*/ 5868556 h 6861600"/>
              <a:gd name="connsiteX104" fmla="*/ 11557946 w 12193200"/>
              <a:gd name="connsiteY104" fmla="*/ 5878354 h 6861600"/>
              <a:gd name="connsiteX105" fmla="*/ 11522999 w 12193200"/>
              <a:gd name="connsiteY105" fmla="*/ 6049054 h 6861600"/>
              <a:gd name="connsiteX106" fmla="*/ 11564204 w 12193200"/>
              <a:gd name="connsiteY106" fmla="*/ 6049054 h 6861600"/>
              <a:gd name="connsiteX107" fmla="*/ 11572292 w 12193200"/>
              <a:gd name="connsiteY107" fmla="*/ 6005219 h 6861600"/>
              <a:gd name="connsiteX108" fmla="*/ 11628363 w 12193200"/>
              <a:gd name="connsiteY108" fmla="*/ 6005219 h 6861600"/>
              <a:gd name="connsiteX109" fmla="*/ 11636710 w 12193200"/>
              <a:gd name="connsiteY109" fmla="*/ 6049054 h 6861600"/>
              <a:gd name="connsiteX110" fmla="*/ 11678697 w 12193200"/>
              <a:gd name="connsiteY110" fmla="*/ 6049054 h 6861600"/>
              <a:gd name="connsiteX111" fmla="*/ 11642448 w 12193200"/>
              <a:gd name="connsiteY111" fmla="*/ 5878354 h 6861600"/>
              <a:gd name="connsiteX112" fmla="*/ 11630711 w 12193200"/>
              <a:gd name="connsiteY112" fmla="*/ 5868556 h 6861600"/>
              <a:gd name="connsiteX113" fmla="*/ 11293745 w 12193200"/>
              <a:gd name="connsiteY113" fmla="*/ 5868556 h 6861600"/>
              <a:gd name="connsiteX114" fmla="*/ 11325040 w 12193200"/>
              <a:gd name="connsiteY114" fmla="*/ 6040546 h 6861600"/>
              <a:gd name="connsiteX115" fmla="*/ 11334691 w 12193200"/>
              <a:gd name="connsiteY115" fmla="*/ 6049054 h 6861600"/>
              <a:gd name="connsiteX116" fmla="*/ 11373289 w 12193200"/>
              <a:gd name="connsiteY116" fmla="*/ 6049054 h 6861600"/>
              <a:gd name="connsiteX117" fmla="*/ 11383200 w 12193200"/>
              <a:gd name="connsiteY117" fmla="*/ 6041061 h 6861600"/>
              <a:gd name="connsiteX118" fmla="*/ 11407979 w 12193200"/>
              <a:gd name="connsiteY118" fmla="*/ 5923221 h 6861600"/>
              <a:gd name="connsiteX119" fmla="*/ 11433797 w 12193200"/>
              <a:gd name="connsiteY119" fmla="*/ 6041061 h 6861600"/>
              <a:gd name="connsiteX120" fmla="*/ 11444491 w 12193200"/>
              <a:gd name="connsiteY120" fmla="*/ 6049054 h 6861600"/>
              <a:gd name="connsiteX121" fmla="*/ 11481522 w 12193200"/>
              <a:gd name="connsiteY121" fmla="*/ 6049054 h 6861600"/>
              <a:gd name="connsiteX122" fmla="*/ 11491171 w 12193200"/>
              <a:gd name="connsiteY122" fmla="*/ 6040546 h 6861600"/>
              <a:gd name="connsiteX123" fmla="*/ 11522208 w 12193200"/>
              <a:gd name="connsiteY123" fmla="*/ 5868556 h 6861600"/>
              <a:gd name="connsiteX124" fmla="*/ 11483089 w 12193200"/>
              <a:gd name="connsiteY124" fmla="*/ 5868556 h 6861600"/>
              <a:gd name="connsiteX125" fmla="*/ 11461701 w 12193200"/>
              <a:gd name="connsiteY125" fmla="*/ 6009087 h 6861600"/>
              <a:gd name="connsiteX126" fmla="*/ 11430145 w 12193200"/>
              <a:gd name="connsiteY126" fmla="*/ 5868556 h 6861600"/>
              <a:gd name="connsiteX127" fmla="*/ 11386588 w 12193200"/>
              <a:gd name="connsiteY127" fmla="*/ 5868556 h 6861600"/>
              <a:gd name="connsiteX128" fmla="*/ 11355816 w 12193200"/>
              <a:gd name="connsiteY128" fmla="*/ 6009087 h 6861600"/>
              <a:gd name="connsiteX129" fmla="*/ 11333909 w 12193200"/>
              <a:gd name="connsiteY129" fmla="*/ 5868556 h 6861600"/>
              <a:gd name="connsiteX130" fmla="*/ 11112223 w 12193200"/>
              <a:gd name="connsiteY130" fmla="*/ 5868556 h 6861600"/>
              <a:gd name="connsiteX131" fmla="*/ 11112223 w 12193200"/>
              <a:gd name="connsiteY131" fmla="*/ 6049054 h 6861600"/>
              <a:gd name="connsiteX132" fmla="*/ 11223323 w 12193200"/>
              <a:gd name="connsiteY132" fmla="*/ 6049054 h 6861600"/>
              <a:gd name="connsiteX133" fmla="*/ 11223323 w 12193200"/>
              <a:gd name="connsiteY133" fmla="*/ 6014244 h 6861600"/>
              <a:gd name="connsiteX134" fmla="*/ 11153951 w 12193200"/>
              <a:gd name="connsiteY134" fmla="*/ 6014244 h 6861600"/>
              <a:gd name="connsiteX135" fmla="*/ 11153951 w 12193200"/>
              <a:gd name="connsiteY135" fmla="*/ 5975050 h 6861600"/>
              <a:gd name="connsiteX136" fmla="*/ 11211325 w 12193200"/>
              <a:gd name="connsiteY136" fmla="*/ 5975050 h 6861600"/>
              <a:gd name="connsiteX137" fmla="*/ 11211325 w 12193200"/>
              <a:gd name="connsiteY137" fmla="*/ 5940240 h 6861600"/>
              <a:gd name="connsiteX138" fmla="*/ 11153951 w 12193200"/>
              <a:gd name="connsiteY138" fmla="*/ 5940240 h 6861600"/>
              <a:gd name="connsiteX139" fmla="*/ 11153951 w 12193200"/>
              <a:gd name="connsiteY139" fmla="*/ 5903366 h 6861600"/>
              <a:gd name="connsiteX140" fmla="*/ 11223323 w 12193200"/>
              <a:gd name="connsiteY140" fmla="*/ 5903366 h 6861600"/>
              <a:gd name="connsiteX141" fmla="*/ 11223323 w 12193200"/>
              <a:gd name="connsiteY141" fmla="*/ 5868556 h 6861600"/>
              <a:gd name="connsiteX142" fmla="*/ 10943215 w 12193200"/>
              <a:gd name="connsiteY142" fmla="*/ 5868556 h 6861600"/>
              <a:gd name="connsiteX143" fmla="*/ 10943215 w 12193200"/>
              <a:gd name="connsiteY143" fmla="*/ 6049054 h 6861600"/>
              <a:gd name="connsiteX144" fmla="*/ 10984945 w 12193200"/>
              <a:gd name="connsiteY144" fmla="*/ 6049054 h 6861600"/>
              <a:gd name="connsiteX145" fmla="*/ 10984945 w 12193200"/>
              <a:gd name="connsiteY145" fmla="*/ 5974534 h 6861600"/>
              <a:gd name="connsiteX146" fmla="*/ 11042060 w 12193200"/>
              <a:gd name="connsiteY146" fmla="*/ 5974534 h 6861600"/>
              <a:gd name="connsiteX147" fmla="*/ 11042060 w 12193200"/>
              <a:gd name="connsiteY147" fmla="*/ 6049054 h 6861600"/>
              <a:gd name="connsiteX148" fmla="*/ 11083787 w 12193200"/>
              <a:gd name="connsiteY148" fmla="*/ 6049054 h 6861600"/>
              <a:gd name="connsiteX149" fmla="*/ 11083787 w 12193200"/>
              <a:gd name="connsiteY149" fmla="*/ 5868556 h 6861600"/>
              <a:gd name="connsiteX150" fmla="*/ 11042060 w 12193200"/>
              <a:gd name="connsiteY150" fmla="*/ 5868556 h 6861600"/>
              <a:gd name="connsiteX151" fmla="*/ 11042060 w 12193200"/>
              <a:gd name="connsiteY151" fmla="*/ 5939724 h 6861600"/>
              <a:gd name="connsiteX152" fmla="*/ 10984945 w 12193200"/>
              <a:gd name="connsiteY152" fmla="*/ 5939724 h 6861600"/>
              <a:gd name="connsiteX153" fmla="*/ 10984945 w 12193200"/>
              <a:gd name="connsiteY153" fmla="*/ 5868556 h 6861600"/>
              <a:gd name="connsiteX154" fmla="*/ 10779428 w 12193200"/>
              <a:gd name="connsiteY154" fmla="*/ 5868556 h 6861600"/>
              <a:gd name="connsiteX155" fmla="*/ 10779428 w 12193200"/>
              <a:gd name="connsiteY155" fmla="*/ 5903366 h 6861600"/>
              <a:gd name="connsiteX156" fmla="*/ 10826632 w 12193200"/>
              <a:gd name="connsiteY156" fmla="*/ 5903366 h 6861600"/>
              <a:gd name="connsiteX157" fmla="*/ 10826632 w 12193200"/>
              <a:gd name="connsiteY157" fmla="*/ 6049054 h 6861600"/>
              <a:gd name="connsiteX158" fmla="*/ 10868360 w 12193200"/>
              <a:gd name="connsiteY158" fmla="*/ 6049054 h 6861600"/>
              <a:gd name="connsiteX159" fmla="*/ 10868360 w 12193200"/>
              <a:gd name="connsiteY159" fmla="*/ 5903366 h 6861600"/>
              <a:gd name="connsiteX160" fmla="*/ 10915564 w 12193200"/>
              <a:gd name="connsiteY160" fmla="*/ 5903366 h 6861600"/>
              <a:gd name="connsiteX161" fmla="*/ 10915564 w 12193200"/>
              <a:gd name="connsiteY161" fmla="*/ 5868556 h 6861600"/>
              <a:gd name="connsiteX162" fmla="*/ 10602853 w 12193200"/>
              <a:gd name="connsiteY162" fmla="*/ 5868556 h 6861600"/>
              <a:gd name="connsiteX163" fmla="*/ 10602853 w 12193200"/>
              <a:gd name="connsiteY163" fmla="*/ 6049054 h 6861600"/>
              <a:gd name="connsiteX164" fmla="*/ 10714217 w 12193200"/>
              <a:gd name="connsiteY164" fmla="*/ 6049054 h 6861600"/>
              <a:gd name="connsiteX165" fmla="*/ 10714217 w 12193200"/>
              <a:gd name="connsiteY165" fmla="*/ 6014244 h 6861600"/>
              <a:gd name="connsiteX166" fmla="*/ 10644583 w 12193200"/>
              <a:gd name="connsiteY166" fmla="*/ 6014244 h 6861600"/>
              <a:gd name="connsiteX167" fmla="*/ 10644583 w 12193200"/>
              <a:gd name="connsiteY167" fmla="*/ 5868556 h 6861600"/>
              <a:gd name="connsiteX168" fmla="*/ 10467490 w 12193200"/>
              <a:gd name="connsiteY168" fmla="*/ 5868556 h 6861600"/>
              <a:gd name="connsiteX169" fmla="*/ 10467490 w 12193200"/>
              <a:gd name="connsiteY169" fmla="*/ 6049054 h 6861600"/>
              <a:gd name="connsiteX170" fmla="*/ 10578854 w 12193200"/>
              <a:gd name="connsiteY170" fmla="*/ 6049054 h 6861600"/>
              <a:gd name="connsiteX171" fmla="*/ 10578854 w 12193200"/>
              <a:gd name="connsiteY171" fmla="*/ 6014244 h 6861600"/>
              <a:gd name="connsiteX172" fmla="*/ 10509217 w 12193200"/>
              <a:gd name="connsiteY172" fmla="*/ 6014244 h 6861600"/>
              <a:gd name="connsiteX173" fmla="*/ 10509217 w 12193200"/>
              <a:gd name="connsiteY173" fmla="*/ 5868556 h 6861600"/>
              <a:gd name="connsiteX174" fmla="*/ 10335779 w 12193200"/>
              <a:gd name="connsiteY174" fmla="*/ 5868556 h 6861600"/>
              <a:gd name="connsiteX175" fmla="*/ 10324044 w 12193200"/>
              <a:gd name="connsiteY175" fmla="*/ 5878354 h 6861600"/>
              <a:gd name="connsiteX176" fmla="*/ 10289097 w 12193200"/>
              <a:gd name="connsiteY176" fmla="*/ 6049054 h 6861600"/>
              <a:gd name="connsiteX177" fmla="*/ 10330303 w 12193200"/>
              <a:gd name="connsiteY177" fmla="*/ 6049054 h 6861600"/>
              <a:gd name="connsiteX178" fmla="*/ 10338389 w 12193200"/>
              <a:gd name="connsiteY178" fmla="*/ 6005219 h 6861600"/>
              <a:gd name="connsiteX179" fmla="*/ 10394462 w 12193200"/>
              <a:gd name="connsiteY179" fmla="*/ 6005219 h 6861600"/>
              <a:gd name="connsiteX180" fmla="*/ 10402808 w 12193200"/>
              <a:gd name="connsiteY180" fmla="*/ 6049054 h 6861600"/>
              <a:gd name="connsiteX181" fmla="*/ 10444796 w 12193200"/>
              <a:gd name="connsiteY181" fmla="*/ 6049054 h 6861600"/>
              <a:gd name="connsiteX182" fmla="*/ 10408543 w 12193200"/>
              <a:gd name="connsiteY182" fmla="*/ 5878354 h 6861600"/>
              <a:gd name="connsiteX183" fmla="*/ 10396809 w 12193200"/>
              <a:gd name="connsiteY183" fmla="*/ 5868556 h 6861600"/>
              <a:gd name="connsiteX184" fmla="*/ 422379 w 12193200"/>
              <a:gd name="connsiteY184" fmla="*/ 5753461 h 6861600"/>
              <a:gd name="connsiteX185" fmla="*/ 377223 w 12193200"/>
              <a:gd name="connsiteY185" fmla="*/ 5801324 h 6861600"/>
              <a:gd name="connsiteX186" fmla="*/ 377223 w 12193200"/>
              <a:gd name="connsiteY186" fmla="*/ 6122326 h 6861600"/>
              <a:gd name="connsiteX187" fmla="*/ 422379 w 12193200"/>
              <a:gd name="connsiteY187" fmla="*/ 6170189 h 6861600"/>
              <a:gd name="connsiteX188" fmla="*/ 718117 w 12193200"/>
              <a:gd name="connsiteY188" fmla="*/ 6170189 h 6861600"/>
              <a:gd name="connsiteX189" fmla="*/ 765181 w 12193200"/>
              <a:gd name="connsiteY189" fmla="*/ 6122326 h 6861600"/>
              <a:gd name="connsiteX190" fmla="*/ 765181 w 12193200"/>
              <a:gd name="connsiteY190" fmla="*/ 5801324 h 6861600"/>
              <a:gd name="connsiteX191" fmla="*/ 718117 w 12193200"/>
              <a:gd name="connsiteY191" fmla="*/ 5753461 h 6861600"/>
              <a:gd name="connsiteX192" fmla="*/ 12192000 w 12193200"/>
              <a:gd name="connsiteY192" fmla="*/ 0 h 6861600"/>
              <a:gd name="connsiteX193" fmla="*/ 12193200 w 12193200"/>
              <a:gd name="connsiteY193" fmla="*/ 0 h 6861600"/>
              <a:gd name="connsiteX194" fmla="*/ 12193200 w 12193200"/>
              <a:gd name="connsiteY194" fmla="*/ 6861600 h 6861600"/>
              <a:gd name="connsiteX195" fmla="*/ 0 w 12193200"/>
              <a:gd name="connsiteY195" fmla="*/ 6861600 h 6861600"/>
              <a:gd name="connsiteX196" fmla="*/ 0 w 12193200"/>
              <a:gd name="connsiteY196" fmla="*/ 6858000 h 6861600"/>
              <a:gd name="connsiteX197" fmla="*/ 12192000 w 12193200"/>
              <a:gd name="connsiteY197" fmla="*/ 6858000 h 6861600"/>
              <a:gd name="connsiteX198" fmla="*/ 0 w 12193200"/>
              <a:gd name="connsiteY198" fmla="*/ 0 h 6861600"/>
              <a:gd name="connsiteX199" fmla="*/ 12191999 w 12193200"/>
              <a:gd name="connsiteY199" fmla="*/ 0 h 6861600"/>
              <a:gd name="connsiteX200" fmla="*/ 12191999 w 12193200"/>
              <a:gd name="connsiteY200" fmla="*/ 4414449 h 6861600"/>
              <a:gd name="connsiteX201" fmla="*/ 12191999 w 12193200"/>
              <a:gd name="connsiteY201" fmla="*/ 4527603 h 6861600"/>
              <a:gd name="connsiteX202" fmla="*/ 12191999 w 12193200"/>
              <a:gd name="connsiteY202" fmla="*/ 5635421 h 6861600"/>
              <a:gd name="connsiteX203" fmla="*/ 11344017 w 12193200"/>
              <a:gd name="connsiteY203" fmla="*/ 6483403 h 6861600"/>
              <a:gd name="connsiteX204" fmla="*/ 10222737 w 12193200"/>
              <a:gd name="connsiteY204" fmla="*/ 6483403 h 6861600"/>
              <a:gd name="connsiteX205" fmla="*/ 9813419 w 12193200"/>
              <a:gd name="connsiteY205" fmla="*/ 6483403 h 6861600"/>
              <a:gd name="connsiteX206" fmla="*/ 5765037 w 12193200"/>
              <a:gd name="connsiteY206" fmla="*/ 6483403 h 6861600"/>
              <a:gd name="connsiteX207" fmla="*/ 5765037 w 12193200"/>
              <a:gd name="connsiteY207" fmla="*/ 6483402 h 6861600"/>
              <a:gd name="connsiteX208" fmla="*/ 0 w 12193200"/>
              <a:gd name="connsiteY208" fmla="*/ 6483402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2193200" h="6861600">
                <a:moveTo>
                  <a:pt x="1656213" y="5905985"/>
                </a:moveTo>
                <a:lnTo>
                  <a:pt x="1746524" y="5905985"/>
                </a:lnTo>
                <a:lnTo>
                  <a:pt x="1746524" y="5953848"/>
                </a:lnTo>
                <a:lnTo>
                  <a:pt x="1656213" y="5953848"/>
                </a:lnTo>
                <a:close/>
                <a:moveTo>
                  <a:pt x="1279703" y="5904070"/>
                </a:moveTo>
                <a:lnTo>
                  <a:pt x="1311503" y="5982566"/>
                </a:lnTo>
                <a:lnTo>
                  <a:pt x="1247904" y="5982566"/>
                </a:lnTo>
                <a:close/>
                <a:moveTo>
                  <a:pt x="11590810" y="5903366"/>
                </a:moveTo>
                <a:lnTo>
                  <a:pt x="11609065" y="5903366"/>
                </a:lnTo>
                <a:lnTo>
                  <a:pt x="11621841" y="5970409"/>
                </a:lnTo>
                <a:lnTo>
                  <a:pt x="11578548" y="5970409"/>
                </a:lnTo>
                <a:close/>
                <a:moveTo>
                  <a:pt x="10356904" y="5903366"/>
                </a:moveTo>
                <a:lnTo>
                  <a:pt x="10375160" y="5903366"/>
                </a:lnTo>
                <a:lnTo>
                  <a:pt x="10387940" y="5970409"/>
                </a:lnTo>
                <a:lnTo>
                  <a:pt x="10344647" y="5970409"/>
                </a:lnTo>
                <a:close/>
                <a:moveTo>
                  <a:pt x="2034631" y="5870247"/>
                </a:moveTo>
                <a:lnTo>
                  <a:pt x="2034631" y="6053403"/>
                </a:lnTo>
                <a:lnTo>
                  <a:pt x="2078515" y="6053403"/>
                </a:lnTo>
                <a:lnTo>
                  <a:pt x="2078515" y="5969164"/>
                </a:lnTo>
                <a:lnTo>
                  <a:pt x="2161194" y="6053403"/>
                </a:lnTo>
                <a:lnTo>
                  <a:pt x="2221614" y="6053403"/>
                </a:lnTo>
                <a:lnTo>
                  <a:pt x="2121763" y="5955762"/>
                </a:lnTo>
                <a:lnTo>
                  <a:pt x="2217798" y="5870247"/>
                </a:lnTo>
                <a:lnTo>
                  <a:pt x="2159286" y="5870247"/>
                </a:lnTo>
                <a:lnTo>
                  <a:pt x="2078515" y="5944275"/>
                </a:lnTo>
                <a:lnTo>
                  <a:pt x="2078515" y="5870247"/>
                </a:lnTo>
                <a:close/>
                <a:moveTo>
                  <a:pt x="1612965" y="5870247"/>
                </a:moveTo>
                <a:lnTo>
                  <a:pt x="1612965" y="6053403"/>
                </a:lnTo>
                <a:lnTo>
                  <a:pt x="1656213" y="6053403"/>
                </a:lnTo>
                <a:lnTo>
                  <a:pt x="1656213" y="5990224"/>
                </a:lnTo>
                <a:lnTo>
                  <a:pt x="1703277" y="5990224"/>
                </a:lnTo>
                <a:lnTo>
                  <a:pt x="1742708" y="6053403"/>
                </a:lnTo>
                <a:lnTo>
                  <a:pt x="1789772" y="6053403"/>
                </a:lnTo>
                <a:lnTo>
                  <a:pt x="1748432" y="5990224"/>
                </a:lnTo>
                <a:lnTo>
                  <a:pt x="1752248" y="5990224"/>
                </a:lnTo>
                <a:cubicBezTo>
                  <a:pt x="1776416" y="5990224"/>
                  <a:pt x="1787864" y="5976822"/>
                  <a:pt x="1787864" y="5961506"/>
                </a:cubicBezTo>
                <a:lnTo>
                  <a:pt x="1787864" y="5900879"/>
                </a:lnTo>
                <a:cubicBezTo>
                  <a:pt x="1787864" y="5881734"/>
                  <a:pt x="1776416" y="5870247"/>
                  <a:pt x="1757972" y="5870247"/>
                </a:cubicBezTo>
                <a:close/>
                <a:moveTo>
                  <a:pt x="1407538" y="5870247"/>
                </a:moveTo>
                <a:lnTo>
                  <a:pt x="1407538" y="6053403"/>
                </a:lnTo>
                <a:lnTo>
                  <a:pt x="1581165" y="6053403"/>
                </a:lnTo>
                <a:lnTo>
                  <a:pt x="1581165" y="6017027"/>
                </a:lnTo>
                <a:lnTo>
                  <a:pt x="1448878" y="6017027"/>
                </a:lnTo>
                <a:lnTo>
                  <a:pt x="1448878" y="5978737"/>
                </a:lnTo>
                <a:lnTo>
                  <a:pt x="1562085" y="5978737"/>
                </a:lnTo>
                <a:lnTo>
                  <a:pt x="1562085" y="5942361"/>
                </a:lnTo>
                <a:lnTo>
                  <a:pt x="1448878" y="5942361"/>
                </a:lnTo>
                <a:lnTo>
                  <a:pt x="1448878" y="5905985"/>
                </a:lnTo>
                <a:lnTo>
                  <a:pt x="1579257" y="5905985"/>
                </a:lnTo>
                <a:lnTo>
                  <a:pt x="1579257" y="5870247"/>
                </a:lnTo>
                <a:close/>
                <a:moveTo>
                  <a:pt x="1251084" y="5870247"/>
                </a:moveTo>
                <a:lnTo>
                  <a:pt x="1170312" y="6053403"/>
                </a:lnTo>
                <a:lnTo>
                  <a:pt x="1217376" y="6053403"/>
                </a:lnTo>
                <a:lnTo>
                  <a:pt x="1232640" y="6017027"/>
                </a:lnTo>
                <a:lnTo>
                  <a:pt x="1326767" y="6017027"/>
                </a:lnTo>
                <a:lnTo>
                  <a:pt x="1343939" y="6053403"/>
                </a:lnTo>
                <a:lnTo>
                  <a:pt x="1389095" y="6053403"/>
                </a:lnTo>
                <a:lnTo>
                  <a:pt x="1307687" y="5870247"/>
                </a:lnTo>
                <a:close/>
                <a:moveTo>
                  <a:pt x="938809" y="5870247"/>
                </a:moveTo>
                <a:lnTo>
                  <a:pt x="938809" y="6053403"/>
                </a:lnTo>
                <a:lnTo>
                  <a:pt x="978241" y="6053403"/>
                </a:lnTo>
                <a:lnTo>
                  <a:pt x="978241" y="5948104"/>
                </a:lnTo>
                <a:lnTo>
                  <a:pt x="1025305" y="6053403"/>
                </a:lnTo>
                <a:lnTo>
                  <a:pt x="1066644" y="6053403"/>
                </a:lnTo>
                <a:lnTo>
                  <a:pt x="1113708" y="5946190"/>
                </a:lnTo>
                <a:lnTo>
                  <a:pt x="1113708" y="6053403"/>
                </a:lnTo>
                <a:lnTo>
                  <a:pt x="1153140" y="6053403"/>
                </a:lnTo>
                <a:lnTo>
                  <a:pt x="1153140" y="5870247"/>
                </a:lnTo>
                <a:lnTo>
                  <a:pt x="1106076" y="5870247"/>
                </a:lnTo>
                <a:lnTo>
                  <a:pt x="1045657" y="6007455"/>
                </a:lnTo>
                <a:lnTo>
                  <a:pt x="985873" y="5870247"/>
                </a:lnTo>
                <a:close/>
                <a:moveTo>
                  <a:pt x="1852100" y="5869609"/>
                </a:moveTo>
                <a:cubicBezTo>
                  <a:pt x="1837472" y="5869609"/>
                  <a:pt x="1824116" y="5881096"/>
                  <a:pt x="1824116" y="5898327"/>
                </a:cubicBezTo>
                <a:lnTo>
                  <a:pt x="1824116" y="5951934"/>
                </a:lnTo>
                <a:cubicBezTo>
                  <a:pt x="1824116" y="5967250"/>
                  <a:pt x="1834928" y="5978737"/>
                  <a:pt x="1852100" y="5978737"/>
                </a:cubicBezTo>
                <a:lnTo>
                  <a:pt x="1953859" y="5978737"/>
                </a:lnTo>
                <a:lnTo>
                  <a:pt x="1953859" y="6017027"/>
                </a:lnTo>
                <a:lnTo>
                  <a:pt x="1865456" y="6017027"/>
                </a:lnTo>
                <a:lnTo>
                  <a:pt x="1865456" y="6003626"/>
                </a:lnTo>
                <a:lnTo>
                  <a:pt x="1822208" y="6003626"/>
                </a:lnTo>
                <a:lnTo>
                  <a:pt x="1822208" y="6026600"/>
                </a:lnTo>
                <a:cubicBezTo>
                  <a:pt x="1822208" y="6041916"/>
                  <a:pt x="1831112" y="6053403"/>
                  <a:pt x="1850192" y="6053403"/>
                </a:cubicBezTo>
                <a:lnTo>
                  <a:pt x="1865456" y="6053403"/>
                </a:lnTo>
                <a:lnTo>
                  <a:pt x="1967215" y="6053403"/>
                </a:lnTo>
                <a:cubicBezTo>
                  <a:pt x="1985659" y="6053403"/>
                  <a:pt x="1995199" y="6041916"/>
                  <a:pt x="1995199" y="6024686"/>
                </a:cubicBezTo>
                <a:lnTo>
                  <a:pt x="1995199" y="5972993"/>
                </a:lnTo>
                <a:cubicBezTo>
                  <a:pt x="1995199" y="5953848"/>
                  <a:pt x="1982479" y="5942361"/>
                  <a:pt x="1967215" y="5942361"/>
                </a:cubicBezTo>
                <a:lnTo>
                  <a:pt x="1865456" y="5942361"/>
                </a:lnTo>
                <a:lnTo>
                  <a:pt x="1865456" y="5905985"/>
                </a:lnTo>
                <a:lnTo>
                  <a:pt x="1953859" y="5905985"/>
                </a:lnTo>
                <a:lnTo>
                  <a:pt x="1953859" y="5921301"/>
                </a:lnTo>
                <a:lnTo>
                  <a:pt x="1995199" y="5921301"/>
                </a:lnTo>
                <a:lnTo>
                  <a:pt x="1995199" y="5900241"/>
                </a:lnTo>
                <a:cubicBezTo>
                  <a:pt x="1995199" y="5881096"/>
                  <a:pt x="1984387" y="5869609"/>
                  <a:pt x="1969123" y="5869609"/>
                </a:cubicBezTo>
                <a:close/>
                <a:moveTo>
                  <a:pt x="11668273" y="5868556"/>
                </a:moveTo>
                <a:lnTo>
                  <a:pt x="11723299" y="5983559"/>
                </a:lnTo>
                <a:lnTo>
                  <a:pt x="11723299" y="6049054"/>
                </a:lnTo>
                <a:lnTo>
                  <a:pt x="11765029" y="6049054"/>
                </a:lnTo>
                <a:lnTo>
                  <a:pt x="11765029" y="5983559"/>
                </a:lnTo>
                <a:lnTo>
                  <a:pt x="11820060" y="5868556"/>
                </a:lnTo>
                <a:lnTo>
                  <a:pt x="11777026" y="5868556"/>
                </a:lnTo>
                <a:lnTo>
                  <a:pt x="11744427" y="5945396"/>
                </a:lnTo>
                <a:lnTo>
                  <a:pt x="11711566" y="5868556"/>
                </a:lnTo>
                <a:close/>
                <a:moveTo>
                  <a:pt x="11569685" y="5868556"/>
                </a:moveTo>
                <a:cubicBezTo>
                  <a:pt x="11562640" y="5868556"/>
                  <a:pt x="11559252" y="5871907"/>
                  <a:pt x="11557946" y="5878354"/>
                </a:cubicBezTo>
                <a:lnTo>
                  <a:pt x="11522999" y="6049054"/>
                </a:lnTo>
                <a:lnTo>
                  <a:pt x="11564204" y="6049054"/>
                </a:lnTo>
                <a:lnTo>
                  <a:pt x="11572292" y="6005219"/>
                </a:lnTo>
                <a:lnTo>
                  <a:pt x="11628363" y="6005219"/>
                </a:lnTo>
                <a:lnTo>
                  <a:pt x="11636710" y="6049054"/>
                </a:lnTo>
                <a:lnTo>
                  <a:pt x="11678697" y="6049054"/>
                </a:lnTo>
                <a:lnTo>
                  <a:pt x="11642448" y="5878354"/>
                </a:lnTo>
                <a:cubicBezTo>
                  <a:pt x="11641144" y="5871907"/>
                  <a:pt x="11637751" y="5868556"/>
                  <a:pt x="11630711" y="5868556"/>
                </a:cubicBezTo>
                <a:close/>
                <a:moveTo>
                  <a:pt x="11293745" y="5868556"/>
                </a:moveTo>
                <a:lnTo>
                  <a:pt x="11325040" y="6040546"/>
                </a:lnTo>
                <a:cubicBezTo>
                  <a:pt x="11326085" y="6046991"/>
                  <a:pt x="11329214" y="6049054"/>
                  <a:pt x="11334691" y="6049054"/>
                </a:cubicBezTo>
                <a:lnTo>
                  <a:pt x="11373289" y="6049054"/>
                </a:lnTo>
                <a:cubicBezTo>
                  <a:pt x="11378766" y="6049054"/>
                  <a:pt x="11381895" y="6047249"/>
                  <a:pt x="11383200" y="6041061"/>
                </a:cubicBezTo>
                <a:lnTo>
                  <a:pt x="11407979" y="5923221"/>
                </a:lnTo>
                <a:lnTo>
                  <a:pt x="11433797" y="6041061"/>
                </a:lnTo>
                <a:cubicBezTo>
                  <a:pt x="11435099" y="6047249"/>
                  <a:pt x="11439010" y="6049054"/>
                  <a:pt x="11444491" y="6049054"/>
                </a:cubicBezTo>
                <a:lnTo>
                  <a:pt x="11481522" y="6049054"/>
                </a:lnTo>
                <a:cubicBezTo>
                  <a:pt x="11487001" y="6049054"/>
                  <a:pt x="11490130" y="6046991"/>
                  <a:pt x="11491171" y="6040546"/>
                </a:cubicBezTo>
                <a:lnTo>
                  <a:pt x="11522208" y="5868556"/>
                </a:lnTo>
                <a:lnTo>
                  <a:pt x="11483089" y="5868556"/>
                </a:lnTo>
                <a:lnTo>
                  <a:pt x="11461701" y="6009087"/>
                </a:lnTo>
                <a:lnTo>
                  <a:pt x="11430145" y="5868556"/>
                </a:lnTo>
                <a:lnTo>
                  <a:pt x="11386588" y="5868556"/>
                </a:lnTo>
                <a:lnTo>
                  <a:pt x="11355816" y="6009087"/>
                </a:lnTo>
                <a:lnTo>
                  <a:pt x="11333909" y="5868556"/>
                </a:lnTo>
                <a:close/>
                <a:moveTo>
                  <a:pt x="11112223" y="5868556"/>
                </a:moveTo>
                <a:lnTo>
                  <a:pt x="11112223" y="6049054"/>
                </a:lnTo>
                <a:lnTo>
                  <a:pt x="11223323" y="6049054"/>
                </a:lnTo>
                <a:lnTo>
                  <a:pt x="11223323" y="6014244"/>
                </a:lnTo>
                <a:lnTo>
                  <a:pt x="11153951" y="6014244"/>
                </a:lnTo>
                <a:lnTo>
                  <a:pt x="11153951" y="5975050"/>
                </a:lnTo>
                <a:lnTo>
                  <a:pt x="11211325" y="5975050"/>
                </a:lnTo>
                <a:lnTo>
                  <a:pt x="11211325" y="5940240"/>
                </a:lnTo>
                <a:lnTo>
                  <a:pt x="11153951" y="5940240"/>
                </a:lnTo>
                <a:lnTo>
                  <a:pt x="11153951" y="5903366"/>
                </a:lnTo>
                <a:lnTo>
                  <a:pt x="11223323" y="5903366"/>
                </a:lnTo>
                <a:lnTo>
                  <a:pt x="11223323" y="5868556"/>
                </a:lnTo>
                <a:close/>
                <a:moveTo>
                  <a:pt x="10943215" y="5868556"/>
                </a:moveTo>
                <a:lnTo>
                  <a:pt x="10943215" y="6049054"/>
                </a:lnTo>
                <a:lnTo>
                  <a:pt x="10984945" y="6049054"/>
                </a:lnTo>
                <a:lnTo>
                  <a:pt x="10984945" y="5974534"/>
                </a:lnTo>
                <a:lnTo>
                  <a:pt x="11042060" y="5974534"/>
                </a:lnTo>
                <a:lnTo>
                  <a:pt x="11042060" y="6049054"/>
                </a:lnTo>
                <a:lnTo>
                  <a:pt x="11083787" y="6049054"/>
                </a:lnTo>
                <a:lnTo>
                  <a:pt x="11083787" y="5868556"/>
                </a:lnTo>
                <a:lnTo>
                  <a:pt x="11042060" y="5868556"/>
                </a:lnTo>
                <a:lnTo>
                  <a:pt x="11042060" y="5939724"/>
                </a:lnTo>
                <a:lnTo>
                  <a:pt x="10984945" y="5939724"/>
                </a:lnTo>
                <a:lnTo>
                  <a:pt x="10984945" y="5868556"/>
                </a:lnTo>
                <a:close/>
                <a:moveTo>
                  <a:pt x="10779428" y="5868556"/>
                </a:moveTo>
                <a:lnTo>
                  <a:pt x="10779428" y="5903366"/>
                </a:lnTo>
                <a:lnTo>
                  <a:pt x="10826632" y="5903366"/>
                </a:lnTo>
                <a:lnTo>
                  <a:pt x="10826632" y="6049054"/>
                </a:lnTo>
                <a:lnTo>
                  <a:pt x="10868360" y="6049054"/>
                </a:lnTo>
                <a:lnTo>
                  <a:pt x="10868360" y="5903366"/>
                </a:lnTo>
                <a:lnTo>
                  <a:pt x="10915564" y="5903366"/>
                </a:lnTo>
                <a:lnTo>
                  <a:pt x="10915564" y="5868556"/>
                </a:lnTo>
                <a:close/>
                <a:moveTo>
                  <a:pt x="10602853" y="5868556"/>
                </a:moveTo>
                <a:lnTo>
                  <a:pt x="10602853" y="6049054"/>
                </a:lnTo>
                <a:lnTo>
                  <a:pt x="10714217" y="6049054"/>
                </a:lnTo>
                <a:lnTo>
                  <a:pt x="10714217" y="6014244"/>
                </a:lnTo>
                <a:lnTo>
                  <a:pt x="10644583" y="6014244"/>
                </a:lnTo>
                <a:lnTo>
                  <a:pt x="10644583" y="5868556"/>
                </a:lnTo>
                <a:close/>
                <a:moveTo>
                  <a:pt x="10467490" y="5868556"/>
                </a:moveTo>
                <a:lnTo>
                  <a:pt x="10467490" y="6049054"/>
                </a:lnTo>
                <a:lnTo>
                  <a:pt x="10578854" y="6049054"/>
                </a:lnTo>
                <a:lnTo>
                  <a:pt x="10578854" y="6014244"/>
                </a:lnTo>
                <a:lnTo>
                  <a:pt x="10509217" y="6014244"/>
                </a:lnTo>
                <a:lnTo>
                  <a:pt x="10509217" y="5868556"/>
                </a:lnTo>
                <a:close/>
                <a:moveTo>
                  <a:pt x="10335779" y="5868556"/>
                </a:moveTo>
                <a:cubicBezTo>
                  <a:pt x="10328738" y="5868556"/>
                  <a:pt x="10325345" y="5871907"/>
                  <a:pt x="10324044" y="5878354"/>
                </a:cubicBezTo>
                <a:lnTo>
                  <a:pt x="10289097" y="6049054"/>
                </a:lnTo>
                <a:lnTo>
                  <a:pt x="10330303" y="6049054"/>
                </a:lnTo>
                <a:lnTo>
                  <a:pt x="10338389" y="6005219"/>
                </a:lnTo>
                <a:lnTo>
                  <a:pt x="10394462" y="6005219"/>
                </a:lnTo>
                <a:lnTo>
                  <a:pt x="10402808" y="6049054"/>
                </a:lnTo>
                <a:lnTo>
                  <a:pt x="10444796" y="6049054"/>
                </a:lnTo>
                <a:lnTo>
                  <a:pt x="10408543" y="5878354"/>
                </a:lnTo>
                <a:cubicBezTo>
                  <a:pt x="10407238" y="5871907"/>
                  <a:pt x="10403850" y="5868556"/>
                  <a:pt x="10396809" y="5868556"/>
                </a:cubicBezTo>
                <a:close/>
                <a:moveTo>
                  <a:pt x="422379" y="5753461"/>
                </a:moveTo>
                <a:cubicBezTo>
                  <a:pt x="398211" y="5753461"/>
                  <a:pt x="377223" y="5774521"/>
                  <a:pt x="377223" y="5801324"/>
                </a:cubicBezTo>
                <a:lnTo>
                  <a:pt x="377223" y="6122326"/>
                </a:lnTo>
                <a:cubicBezTo>
                  <a:pt x="377223" y="6149130"/>
                  <a:pt x="398211" y="6170189"/>
                  <a:pt x="422379" y="6170189"/>
                </a:cubicBezTo>
                <a:lnTo>
                  <a:pt x="718117" y="6170189"/>
                </a:lnTo>
                <a:cubicBezTo>
                  <a:pt x="744193" y="6170189"/>
                  <a:pt x="765181" y="6149130"/>
                  <a:pt x="765181" y="6122326"/>
                </a:cubicBezTo>
                <a:lnTo>
                  <a:pt x="765181" y="5801324"/>
                </a:lnTo>
                <a:cubicBezTo>
                  <a:pt x="765181" y="5774521"/>
                  <a:pt x="744193" y="5753461"/>
                  <a:pt x="718117" y="5753461"/>
                </a:cubicBezTo>
                <a:close/>
                <a:moveTo>
                  <a:pt x="12192000" y="0"/>
                </a:moveTo>
                <a:lnTo>
                  <a:pt x="12193200" y="0"/>
                </a:lnTo>
                <a:lnTo>
                  <a:pt x="12193200" y="6861600"/>
                </a:lnTo>
                <a:lnTo>
                  <a:pt x="0" y="6861600"/>
                </a:lnTo>
                <a:lnTo>
                  <a:pt x="0" y="6858000"/>
                </a:lnTo>
                <a:lnTo>
                  <a:pt x="12192000" y="6858000"/>
                </a:lnTo>
                <a:close/>
                <a:moveTo>
                  <a:pt x="0" y="0"/>
                </a:moveTo>
                <a:lnTo>
                  <a:pt x="12191999" y="0"/>
                </a:lnTo>
                <a:lnTo>
                  <a:pt x="12191999" y="4414449"/>
                </a:lnTo>
                <a:lnTo>
                  <a:pt x="12191999" y="4527603"/>
                </a:lnTo>
                <a:lnTo>
                  <a:pt x="12191999" y="5635421"/>
                </a:lnTo>
                <a:cubicBezTo>
                  <a:pt x="12191999" y="6103749"/>
                  <a:pt x="11812345" y="6483403"/>
                  <a:pt x="11344017" y="6483403"/>
                </a:cubicBezTo>
                <a:lnTo>
                  <a:pt x="10222737" y="6483403"/>
                </a:lnTo>
                <a:lnTo>
                  <a:pt x="9813419" y="6483403"/>
                </a:lnTo>
                <a:lnTo>
                  <a:pt x="5765037" y="6483403"/>
                </a:lnTo>
                <a:lnTo>
                  <a:pt x="5765037" y="6483402"/>
                </a:lnTo>
                <a:lnTo>
                  <a:pt x="0" y="6483402"/>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18" name="Title 1">
            <a:extLst>
              <a:ext uri="{FF2B5EF4-FFF2-40B4-BE49-F238E27FC236}">
                <a16:creationId xmlns:a16="http://schemas.microsoft.com/office/drawing/2014/main" id="{534A3BBC-EB91-6315-9808-5035B767D3FE}"/>
              </a:ext>
            </a:extLst>
          </p:cNvPr>
          <p:cNvSpPr>
            <a:spLocks noGrp="1"/>
          </p:cNvSpPr>
          <p:nvPr>
            <p:ph type="ctrTitle" hasCustomPrompt="1"/>
          </p:nvPr>
        </p:nvSpPr>
        <p:spPr>
          <a:xfrm>
            <a:off x="371475" y="1943100"/>
            <a:ext cx="10829925" cy="2550523"/>
          </a:xfrm>
        </p:spPr>
        <p:txBody>
          <a:bodyPr anchor="t"/>
          <a:lstStyle>
            <a:lvl1pPr algn="l">
              <a:lnSpc>
                <a:spcPts val="4800"/>
              </a:lnSpc>
              <a:defRPr sz="4400">
                <a:solidFill>
                  <a:schemeClr val="bg1"/>
                </a:solidFill>
              </a:defRPr>
            </a:lvl1pPr>
          </a:lstStyle>
          <a:p>
            <a:r>
              <a:rPr lang="en-GB" dirty="0"/>
              <a:t>Click to add title</a:t>
            </a:r>
          </a:p>
        </p:txBody>
      </p:sp>
    </p:spTree>
    <p:extLst>
      <p:ext uri="{BB962C8B-B14F-4D97-AF65-F5344CB8AC3E}">
        <p14:creationId xmlns:p14="http://schemas.microsoft.com/office/powerpoint/2010/main" val="1728430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49"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371475" y="1943100"/>
            <a:ext cx="3671887" cy="36948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259263" y="1943100"/>
            <a:ext cx="7561262" cy="36948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10" name="Picture 29">
            <a:extLst>
              <a:ext uri="{FF2B5EF4-FFF2-40B4-BE49-F238E27FC236}">
                <a16:creationId xmlns:a16="http://schemas.microsoft.com/office/drawing/2014/main" id="{6E2678F6-0E54-23D9-8207-58085B313B9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455008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371475" y="1944000"/>
            <a:ext cx="3671888" cy="36936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12" name="Picture 29">
            <a:extLst>
              <a:ext uri="{FF2B5EF4-FFF2-40B4-BE49-F238E27FC236}">
                <a16:creationId xmlns:a16="http://schemas.microsoft.com/office/drawing/2014/main" id="{A9EF761D-2C9D-EE00-DD36-FC58D6D8AC1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Content Placeholder 2">
            <a:extLst>
              <a:ext uri="{FF2B5EF4-FFF2-40B4-BE49-F238E27FC236}">
                <a16:creationId xmlns:a16="http://schemas.microsoft.com/office/drawing/2014/main" id="{4303162A-0EB1-D03C-7C03-2FFE2ECA461D}"/>
              </a:ext>
            </a:extLst>
          </p:cNvPr>
          <p:cNvSpPr>
            <a:spLocks noGrp="1"/>
          </p:cNvSpPr>
          <p:nvPr>
            <p:ph sz="half" idx="15" hasCustomPrompt="1"/>
          </p:nvPr>
        </p:nvSpPr>
        <p:spPr>
          <a:xfrm>
            <a:off x="4259263" y="1944000"/>
            <a:ext cx="3671888" cy="36936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Content Placeholder 2">
            <a:extLst>
              <a:ext uri="{FF2B5EF4-FFF2-40B4-BE49-F238E27FC236}">
                <a16:creationId xmlns:a16="http://schemas.microsoft.com/office/drawing/2014/main" id="{EFDB81EA-9984-642B-5B6B-F2E9CE3B1C6B}"/>
              </a:ext>
            </a:extLst>
          </p:cNvPr>
          <p:cNvSpPr>
            <a:spLocks noGrp="1"/>
          </p:cNvSpPr>
          <p:nvPr>
            <p:ph sz="half" idx="16" hasCustomPrompt="1"/>
          </p:nvPr>
        </p:nvSpPr>
        <p:spPr>
          <a:xfrm>
            <a:off x="8148638" y="1944000"/>
            <a:ext cx="3671888" cy="36936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259187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371475" y="1944000"/>
            <a:ext cx="2700338" cy="36936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13" name="Picture 29">
            <a:extLst>
              <a:ext uri="{FF2B5EF4-FFF2-40B4-BE49-F238E27FC236}">
                <a16:creationId xmlns:a16="http://schemas.microsoft.com/office/drawing/2014/main" id="{6232E4B3-49DC-214C-05C1-B2687D35982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5" name="Content Placeholder 2">
            <a:extLst>
              <a:ext uri="{FF2B5EF4-FFF2-40B4-BE49-F238E27FC236}">
                <a16:creationId xmlns:a16="http://schemas.microsoft.com/office/drawing/2014/main" id="{4611CE19-8A15-7AA7-041F-78BA62AAFA9D}"/>
              </a:ext>
            </a:extLst>
          </p:cNvPr>
          <p:cNvSpPr>
            <a:spLocks noGrp="1"/>
          </p:cNvSpPr>
          <p:nvPr>
            <p:ph sz="half" idx="15" hasCustomPrompt="1"/>
          </p:nvPr>
        </p:nvSpPr>
        <p:spPr>
          <a:xfrm>
            <a:off x="3287713" y="1944000"/>
            <a:ext cx="2700338" cy="36936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2">
            <a:extLst>
              <a:ext uri="{FF2B5EF4-FFF2-40B4-BE49-F238E27FC236}">
                <a16:creationId xmlns:a16="http://schemas.microsoft.com/office/drawing/2014/main" id="{4EF24E1C-6314-6E48-762E-1D02C7FB64F0}"/>
              </a:ext>
            </a:extLst>
          </p:cNvPr>
          <p:cNvSpPr>
            <a:spLocks noGrp="1"/>
          </p:cNvSpPr>
          <p:nvPr>
            <p:ph sz="half" idx="16" hasCustomPrompt="1"/>
          </p:nvPr>
        </p:nvSpPr>
        <p:spPr>
          <a:xfrm>
            <a:off x="6203950" y="1944000"/>
            <a:ext cx="2700338" cy="36936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Content Placeholder 2">
            <a:extLst>
              <a:ext uri="{FF2B5EF4-FFF2-40B4-BE49-F238E27FC236}">
                <a16:creationId xmlns:a16="http://schemas.microsoft.com/office/drawing/2014/main" id="{100778A8-C447-C03D-FC2E-A4BE7A781F4A}"/>
              </a:ext>
            </a:extLst>
          </p:cNvPr>
          <p:cNvSpPr>
            <a:spLocks noGrp="1"/>
          </p:cNvSpPr>
          <p:nvPr>
            <p:ph sz="half" idx="17" hasCustomPrompt="1"/>
          </p:nvPr>
        </p:nvSpPr>
        <p:spPr>
          <a:xfrm>
            <a:off x="9120336" y="1944000"/>
            <a:ext cx="2700338" cy="36936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66945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list with numb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719138"/>
          </a:xfrm>
        </p:spPr>
        <p:txBody>
          <a:bodyPr/>
          <a:lstStyle>
            <a:lvl1pPr>
              <a:defRPr sz="2400"/>
            </a:lvl1pPr>
          </a:lstStyle>
          <a:p>
            <a:r>
              <a:rPr lang="en-GB" noProof="0" dirty="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371475" y="1944000"/>
            <a:ext cx="755650" cy="3694113"/>
          </a:xfrm>
        </p:spPr>
        <p:txBody>
          <a:bodyPr/>
          <a:lstStyle>
            <a:lvl1pPr marL="0" indent="0">
              <a:spcAft>
                <a:spcPts val="2400"/>
              </a:spcAft>
              <a:buNone/>
              <a:defRPr lang="en-US" sz="2800" kern="1200" dirty="0" smtClean="0">
                <a:solidFill>
                  <a:schemeClr val="accent1"/>
                </a:solidFill>
                <a:latin typeface="+mj-lt"/>
                <a:ea typeface="+mn-ea"/>
                <a:cs typeface="+mn-cs"/>
              </a:defRPr>
            </a:lvl1pPr>
          </a:lstStyle>
          <a:p>
            <a:pPr lvl="0"/>
            <a:r>
              <a:rPr lang="en-GB" dirty="0"/>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343025" y="1944000"/>
            <a:ext cx="10477500" cy="3694113"/>
          </a:xfrm>
        </p:spPr>
        <p:txBody>
          <a:bodyPr/>
          <a:lstStyle>
            <a:lvl1pPr marL="0" indent="0">
              <a:spcAft>
                <a:spcPts val="2400"/>
              </a:spcAft>
              <a:buNone/>
              <a:defRPr lang="en-US" sz="2800" kern="1200" dirty="0" smtClean="0">
                <a:solidFill>
                  <a:schemeClr val="tx1"/>
                </a:solidFill>
                <a:latin typeface="+mj-lt"/>
                <a:ea typeface="+mn-ea"/>
                <a:cs typeface="+mn-cs"/>
              </a:defRPr>
            </a:lvl1pPr>
          </a:lstStyle>
          <a:p>
            <a:pPr lvl="0"/>
            <a:r>
              <a:rPr lang="en-GB" noProof="0" dirty="0"/>
              <a:t>Click to add text</a:t>
            </a:r>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pic>
        <p:nvPicPr>
          <p:cNvPr id="9" name="Picture 29">
            <a:extLst>
              <a:ext uri="{FF2B5EF4-FFF2-40B4-BE49-F238E27FC236}">
                <a16:creationId xmlns:a16="http://schemas.microsoft.com/office/drawing/2014/main" id="{16B04E69-9AF9-E93D-C3CD-A15BD097427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35461732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veral text box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536757-24D6-4CE3-BC82-E594F5B33A4A}"/>
              </a:ext>
            </a:extLst>
          </p:cNvPr>
          <p:cNvSpPr>
            <a:spLocks noGrp="1"/>
          </p:cNvSpPr>
          <p:nvPr>
            <p:ph type="title" hasCustomPrompt="1"/>
          </p:nvPr>
        </p:nvSpPr>
        <p:spPr>
          <a:xfrm>
            <a:off x="371475" y="368300"/>
            <a:ext cx="11449050" cy="930275"/>
          </a:xfrm>
        </p:spPr>
        <p:txBody>
          <a:bodyPr/>
          <a:lstStyle>
            <a:lvl1pPr>
              <a:defRPr/>
            </a:lvl1pPr>
          </a:lstStyle>
          <a:p>
            <a:r>
              <a:rPr lang="en-US" dirty="0"/>
              <a:t>Click to add title</a:t>
            </a:r>
            <a:endParaRPr lang="en-GB" dirty="0"/>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371474" y="1527716"/>
            <a:ext cx="5616575" cy="1753641"/>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spcBef>
                <a:spcPts val="0"/>
              </a:spcBef>
              <a:defRPr>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371474" y="4070350"/>
            <a:ext cx="5616575" cy="1566850"/>
          </a:xfrm>
        </p:spPr>
        <p:txBody>
          <a:bodyPr/>
          <a:lstStyle>
            <a:lvl1pPr marL="0" indent="0">
              <a:buFont typeface="Arial" panose="020B0604020202020204" pitchFamily="34" charset="0"/>
              <a:buChar char="​"/>
              <a:defRPr sz="1100" b="1">
                <a:solidFill>
                  <a:schemeClr val="accent1"/>
                </a:solidFill>
                <a:latin typeface="+mn-lt"/>
              </a:defRPr>
            </a:lvl1pPr>
            <a:lvl2pPr marL="180000" indent="-180000">
              <a:spcBef>
                <a:spcPts val="0"/>
              </a:spcBef>
              <a:buFont typeface="Arial" panose="020B0604020202020204" pitchFamily="34" charset="0"/>
              <a:buChar char="•"/>
              <a:defRPr sz="1100" b="0">
                <a:solidFill>
                  <a:schemeClr val="tx1"/>
                </a:solidFill>
                <a:latin typeface="+mn-lt"/>
              </a:defRPr>
            </a:lvl2pPr>
            <a:lvl3pPr marL="360000">
              <a:defRPr>
                <a:solidFill>
                  <a:schemeClr val="tx1"/>
                </a:solidFill>
                <a:latin typeface="+mn-lt"/>
              </a:defRPr>
            </a:lvl3pPr>
            <a:lvl4pPr>
              <a:defRPr>
                <a:latin typeface="+mn-lt"/>
              </a:defRPr>
            </a:lvl4pPr>
            <a:lvl5pPr>
              <a:defRPr>
                <a:solidFill>
                  <a:schemeClr val="tx1"/>
                </a:solidFill>
                <a:latin typeface="+mn-lt"/>
              </a:defRPr>
            </a:lvl5pPr>
            <a:lvl6pPr>
              <a:defRPr>
                <a:latin typeface="+mn-lt"/>
              </a:defRPr>
            </a:lvl6pPr>
          </a:lstStyle>
          <a:p>
            <a:pPr lvl="0"/>
            <a:r>
              <a:rPr lang="en-GB" noProof="0" dirty="0"/>
              <a:t>Click to add text</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endParaRPr lang="en-GB" dirty="0"/>
          </a:p>
        </p:txBody>
      </p:sp>
      <p:sp>
        <p:nvSpPr>
          <p:cNvPr id="4" name="Content Placeholder 4">
            <a:extLst>
              <a:ext uri="{FF2B5EF4-FFF2-40B4-BE49-F238E27FC236}">
                <a16:creationId xmlns:a16="http://schemas.microsoft.com/office/drawing/2014/main" id="{25700A65-5A8D-4928-8A10-F9DB7E931F98}"/>
              </a:ext>
            </a:extLst>
          </p:cNvPr>
          <p:cNvSpPr>
            <a:spLocks noGrp="1"/>
          </p:cNvSpPr>
          <p:nvPr>
            <p:ph sz="quarter" idx="25" hasCustomPrompt="1"/>
          </p:nvPr>
        </p:nvSpPr>
        <p:spPr>
          <a:xfrm>
            <a:off x="6203950" y="1527717"/>
            <a:ext cx="5467350" cy="2537993"/>
          </a:xfrm>
        </p:spPr>
        <p:txBody>
          <a:bodyPr tIns="72000"/>
          <a:lstStyle>
            <a:lvl1pPr>
              <a:defRPr sz="1100">
                <a:solidFill>
                  <a:schemeClr val="tx1"/>
                </a:solidFill>
              </a:defRPr>
            </a:lvl1pPr>
            <a:lvl2pPr>
              <a:defRPr sz="1100">
                <a:solidFill>
                  <a:schemeClr val="tx1"/>
                </a:solidFill>
              </a:defRPr>
            </a:lvl2pPr>
            <a:lvl3pPr>
              <a:defRPr sz="1100">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3" name="Text Placeholder 5">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6203950" y="4654550"/>
            <a:ext cx="4532313" cy="982663"/>
          </a:xfrm>
        </p:spPr>
        <p:txBody>
          <a:bodyPr tIns="0" numCol="2" spcCol="180000"/>
          <a:lstStyle>
            <a:lvl1pPr marL="0" indent="0">
              <a:spcAft>
                <a:spcPts val="0"/>
              </a:spcAft>
              <a:buClrTx/>
              <a:buFont typeface="Arial" panose="020B0604020202020204" pitchFamily="34" charset="0"/>
              <a:buChar char="​"/>
              <a:defRPr sz="1100" b="1">
                <a:solidFill>
                  <a:schemeClr val="accent1"/>
                </a:solidFill>
              </a:defRPr>
            </a:lvl1pPr>
            <a:lvl2pPr marL="0" indent="0">
              <a:lnSpc>
                <a:spcPct val="110000"/>
              </a:lnSpc>
              <a:spcBef>
                <a:spcPts val="0"/>
              </a:spcBef>
              <a:spcAft>
                <a:spcPts val="0"/>
              </a:spcAft>
              <a:buFont typeface="Arial" panose="020B0604020202020204" pitchFamily="34" charset="0"/>
              <a:buChar char="​"/>
              <a:defRPr sz="1100">
                <a:solidFill>
                  <a:srgbClr val="878787"/>
                </a:solidFill>
              </a:defRPr>
            </a:lvl2pPr>
            <a:lvl3pPr marL="180000">
              <a:lnSpc>
                <a:spcPct val="110000"/>
              </a:lnSpc>
              <a:spcBef>
                <a:spcPts val="0"/>
              </a:spcBef>
              <a:spcAft>
                <a:spcPts val="0"/>
              </a:spcAft>
              <a:defRPr sz="1100">
                <a:solidFill>
                  <a:srgbClr val="878787"/>
                </a:solidFill>
              </a:defRPr>
            </a:lvl3pPr>
          </a:lstStyle>
          <a:p>
            <a:pPr lvl="0"/>
            <a:r>
              <a:rPr lang="en-GB" noProof="0" dirty="0"/>
              <a:t>Click to add text</a:t>
            </a:r>
          </a:p>
          <a:p>
            <a:pPr lvl="1"/>
            <a:r>
              <a:rPr lang="en-GB" noProof="0" dirty="0"/>
              <a:t>1</a:t>
            </a:r>
          </a:p>
          <a:p>
            <a:pPr lvl="2"/>
            <a:r>
              <a:rPr lang="en-GB" noProof="0" dirty="0"/>
              <a:t>2</a:t>
            </a:r>
          </a:p>
          <a:p>
            <a:pPr lvl="3"/>
            <a:r>
              <a:rPr lang="en-GB" noProof="0" dirty="0"/>
              <a:t>3</a:t>
            </a:r>
            <a:endParaRPr lang="en-GB" dirty="0"/>
          </a:p>
        </p:txBody>
      </p:sp>
      <p:cxnSp>
        <p:nvCxnSpPr>
          <p:cNvPr id="27" name="Straight Connector 1">
            <a:extLst>
              <a:ext uri="{FF2B5EF4-FFF2-40B4-BE49-F238E27FC236}">
                <a16:creationId xmlns:a16="http://schemas.microsoft.com/office/drawing/2014/main" id="{7096DEC8-77C9-4DD3-9025-ECDC80F2146B}"/>
              </a:ext>
            </a:extLst>
          </p:cNvPr>
          <p:cNvCxnSpPr>
            <a:cxnSpLocks/>
          </p:cNvCxnSpPr>
          <p:nvPr userDrawn="1"/>
        </p:nvCxnSpPr>
        <p:spPr>
          <a:xfrm>
            <a:off x="371476" y="3521075"/>
            <a:ext cx="5616574"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90E9CF-510E-4225-A3BB-91F013987BD5}"/>
              </a:ext>
            </a:extLst>
          </p:cNvPr>
          <p:cNvCxnSpPr>
            <a:cxnSpLocks/>
          </p:cNvCxnSpPr>
          <p:nvPr userDrawn="1"/>
        </p:nvCxnSpPr>
        <p:spPr>
          <a:xfrm>
            <a:off x="6203950" y="1527717"/>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3">
            <a:extLst>
              <a:ext uri="{FF2B5EF4-FFF2-40B4-BE49-F238E27FC236}">
                <a16:creationId xmlns:a16="http://schemas.microsoft.com/office/drawing/2014/main" id="{CA039D30-14CC-454E-9DA1-C777E3C44776}"/>
              </a:ext>
            </a:extLst>
          </p:cNvPr>
          <p:cNvCxnSpPr>
            <a:cxnSpLocks/>
          </p:cNvCxnSpPr>
          <p:nvPr userDrawn="1"/>
        </p:nvCxnSpPr>
        <p:spPr>
          <a:xfrm>
            <a:off x="6203950" y="4400550"/>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2C382236-11EE-4251-B331-C34A1F0BC3C7}"/>
              </a:ext>
            </a:extLst>
          </p:cNvPr>
          <p:cNvSpPr>
            <a:spLocks noGrp="1"/>
          </p:cNvSpPr>
          <p:nvPr>
            <p:ph type="dt" sz="half" idx="26"/>
          </p:nvPr>
        </p:nvSpPr>
        <p:spPr/>
        <p:txBody>
          <a:bodyPr/>
          <a:lstStyle/>
          <a:p>
            <a:endParaRPr lang="en-GB" dirty="0"/>
          </a:p>
        </p:txBody>
      </p:sp>
      <p:pic>
        <p:nvPicPr>
          <p:cNvPr id="11" name="Picture 29">
            <a:extLst>
              <a:ext uri="{FF2B5EF4-FFF2-40B4-BE49-F238E27FC236}">
                <a16:creationId xmlns:a16="http://schemas.microsoft.com/office/drawing/2014/main" id="{272FB1A2-A618-BDCF-2F36-D70EA9F969B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313365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7175500" y="368301"/>
            <a:ext cx="4645025" cy="5135563"/>
          </a:xfrm>
          <a:noFill/>
          <a:ln>
            <a:noFill/>
          </a:ln>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8" name="Title 1">
            <a:extLst>
              <a:ext uri="{FF2B5EF4-FFF2-40B4-BE49-F238E27FC236}">
                <a16:creationId xmlns:a16="http://schemas.microsoft.com/office/drawing/2014/main" id="{E637B88C-6BF1-4846-8D23-5E4678D6149C}"/>
              </a:ext>
            </a:extLst>
          </p:cNvPr>
          <p:cNvSpPr>
            <a:spLocks noGrp="1"/>
          </p:cNvSpPr>
          <p:nvPr>
            <p:ph type="title" hasCustomPrompt="1"/>
          </p:nvPr>
        </p:nvSpPr>
        <p:spPr>
          <a:xfrm>
            <a:off x="371475" y="368300"/>
            <a:ext cx="5616575" cy="930275"/>
          </a:xfrm>
        </p:spPr>
        <p:txBody>
          <a:bodyPr/>
          <a:lstStyle>
            <a:lvl1pPr>
              <a:defRPr/>
            </a:lvl1pPr>
          </a:lstStyle>
          <a:p>
            <a:r>
              <a:rPr lang="en-GB" noProof="0" dirty="0"/>
              <a:t>Click to add title</a:t>
            </a:r>
            <a:endParaRPr lang="en-GB" dirty="0"/>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371139" y="1944000"/>
            <a:ext cx="5616911" cy="1577975"/>
          </a:xfrm>
        </p:spPr>
        <p:txBody>
          <a:bodyPr/>
          <a:lstStyle>
            <a:lvl1pPr>
              <a:defRPr sz="1100">
                <a:solidFill>
                  <a:schemeClr val="tx1"/>
                </a:solidFill>
              </a:defRPr>
            </a:lvl1pPr>
            <a:lvl2pPr marL="0" indent="0">
              <a:spcBef>
                <a:spcPts val="0"/>
              </a:spcBef>
              <a:buFont typeface="Arial" panose="020B0604020202020204" pitchFamily="34" charset="0"/>
              <a:buChar char="​"/>
              <a:defRPr sz="1100" b="1">
                <a:solidFill>
                  <a:schemeClr val="accent1"/>
                </a:solidFill>
              </a:defRPr>
            </a:lvl2pPr>
            <a:lvl3pPr marL="360000">
              <a:defRPr>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371138" y="3944750"/>
            <a:ext cx="5616912" cy="230376"/>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rgbClr val="687A86"/>
                </a:solidFill>
              </a:defRPr>
            </a:lvl2pPr>
            <a:lvl3pPr marL="360000">
              <a:defRPr>
                <a:solidFill>
                  <a:srgbClr val="687A86"/>
                </a:solidFill>
              </a:defRPr>
            </a:lvl3pPr>
            <a:lvl5pPr>
              <a:defRPr>
                <a:solidFill>
                  <a:srgbClr val="687A86"/>
                </a:solidFill>
              </a:defRPr>
            </a:lvl5pPr>
          </a:lstStyle>
          <a:p>
            <a:pPr lvl="0"/>
            <a:r>
              <a:rPr lang="en-GB" noProof="0" dirty="0"/>
              <a:t>Click to add text</a:t>
            </a:r>
            <a:endParaRPr lang="en-GB" dirty="0"/>
          </a:p>
        </p:txBody>
      </p:sp>
      <p:sp>
        <p:nvSpPr>
          <p:cNvPr id="33" name="Text Placeholder 4">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371139" y="4306706"/>
            <a:ext cx="5616911" cy="876454"/>
          </a:xfrm>
        </p:spPr>
        <p:txBody>
          <a:bodyPr tIns="90000" numCol="2" spcCol="180000"/>
          <a:lstStyle>
            <a:lvl1pPr marL="198000" indent="-198000">
              <a:spcAft>
                <a:spcPts val="300"/>
              </a:spcAft>
              <a:buClrTx/>
              <a:buFont typeface="+mj-lt"/>
              <a:buAutoNum type="arabicPeriod"/>
              <a:defRPr sz="1100">
                <a:solidFill>
                  <a:srgbClr val="878787"/>
                </a:solidFill>
              </a:defRPr>
            </a:lvl1pPr>
          </a:lstStyle>
          <a:p>
            <a:pPr lvl="0"/>
            <a:r>
              <a:rPr lang="en-GB" noProof="0" dirty="0"/>
              <a:t>Click to add text</a:t>
            </a:r>
            <a:endParaRPr lang="en-GB" dirty="0"/>
          </a:p>
        </p:txBody>
      </p:sp>
      <p:cxnSp>
        <p:nvCxnSpPr>
          <p:cNvPr id="12" name="Straight Connector 1">
            <a:extLst>
              <a:ext uri="{FF2B5EF4-FFF2-40B4-BE49-F238E27FC236}">
                <a16:creationId xmlns:a16="http://schemas.microsoft.com/office/drawing/2014/main" id="{CA039D30-14CC-454E-9DA1-C777E3C44776}"/>
              </a:ext>
            </a:extLst>
          </p:cNvPr>
          <p:cNvCxnSpPr>
            <a:cxnSpLocks/>
          </p:cNvCxnSpPr>
          <p:nvPr userDrawn="1"/>
        </p:nvCxnSpPr>
        <p:spPr>
          <a:xfrm>
            <a:off x="371140" y="4175126"/>
            <a:ext cx="561691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3D1E53-A268-4438-A6D9-6DD6795760C6}"/>
              </a:ext>
            </a:extLst>
          </p:cNvPr>
          <p:cNvCxnSpPr>
            <a:cxnSpLocks/>
          </p:cNvCxnSpPr>
          <p:nvPr userDrawn="1"/>
        </p:nvCxnSpPr>
        <p:spPr>
          <a:xfrm>
            <a:off x="371140" y="5503864"/>
            <a:ext cx="5616910"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83C375B8-9D52-48FF-B9DE-8BD6EEC3AB3E}"/>
              </a:ext>
            </a:extLst>
          </p:cNvPr>
          <p:cNvSpPr>
            <a:spLocks noGrp="1"/>
          </p:cNvSpPr>
          <p:nvPr>
            <p:ph type="dt" sz="half" idx="25"/>
          </p:nvPr>
        </p:nvSpPr>
        <p:spPr/>
        <p:txBody>
          <a:bodyPr/>
          <a:lstStyle/>
          <a:p>
            <a:endParaRPr lang="en-GB" dirty="0"/>
          </a:p>
        </p:txBody>
      </p:sp>
      <p:pic>
        <p:nvPicPr>
          <p:cNvPr id="6" name="Picture 29">
            <a:extLst>
              <a:ext uri="{FF2B5EF4-FFF2-40B4-BE49-F238E27FC236}">
                <a16:creationId xmlns:a16="http://schemas.microsoft.com/office/drawing/2014/main" id="{06B3FA51-6198-F6A8-3100-4DFE4BE5BA2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0607369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476F36D-20D6-DA45-B57D-969664BC86BE}"/>
              </a:ext>
            </a:extLst>
          </p:cNvPr>
          <p:cNvSpPr>
            <a:spLocks noGrp="1"/>
          </p:cNvSpPr>
          <p:nvPr>
            <p:ph type="pic" sz="quarter" idx="13" hasCustomPrompt="1"/>
          </p:nvPr>
        </p:nvSpPr>
        <p:spPr>
          <a:xfrm>
            <a:off x="5718314" y="0"/>
            <a:ext cx="6474887" cy="6861600"/>
          </a:xfrm>
          <a:custGeom>
            <a:avLst/>
            <a:gdLst>
              <a:gd name="connsiteX0" fmla="*/ 744887 w 6474887"/>
              <a:gd name="connsiteY0" fmla="*/ 0 h 6861600"/>
              <a:gd name="connsiteX1" fmla="*/ 6474887 w 6474887"/>
              <a:gd name="connsiteY1" fmla="*/ 0 h 6861600"/>
              <a:gd name="connsiteX2" fmla="*/ 6474887 w 6474887"/>
              <a:gd name="connsiteY2" fmla="*/ 6861600 h 6861600"/>
              <a:gd name="connsiteX3" fmla="*/ 0 w 6474887"/>
              <a:gd name="connsiteY3" fmla="*/ 6861600 h 6861600"/>
              <a:gd name="connsiteX4" fmla="*/ 0 w 6474887"/>
              <a:gd name="connsiteY4" fmla="*/ 6851785 h 6861600"/>
              <a:gd name="connsiteX5" fmla="*/ 144566 w 6474887"/>
              <a:gd name="connsiteY5" fmla="*/ 6823232 h 6861600"/>
              <a:gd name="connsiteX6" fmla="*/ 744887 w 6474887"/>
              <a:gd name="connsiteY6" fmla="*/ 601769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4887" h="6861600">
                <a:moveTo>
                  <a:pt x="744887" y="0"/>
                </a:moveTo>
                <a:lnTo>
                  <a:pt x="6474887" y="0"/>
                </a:lnTo>
                <a:lnTo>
                  <a:pt x="6474887" y="6861600"/>
                </a:lnTo>
                <a:lnTo>
                  <a:pt x="0" y="6861600"/>
                </a:lnTo>
                <a:lnTo>
                  <a:pt x="0" y="6851785"/>
                </a:lnTo>
                <a:lnTo>
                  <a:pt x="144566" y="6823232"/>
                </a:lnTo>
                <a:cubicBezTo>
                  <a:pt x="491724" y="6719960"/>
                  <a:pt x="744887" y="6398390"/>
                  <a:pt x="744887" y="6017690"/>
                </a:cubicBez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4" name="Freeform 3">
            <a:extLst>
              <a:ext uri="{FF2B5EF4-FFF2-40B4-BE49-F238E27FC236}">
                <a16:creationId xmlns:a16="http://schemas.microsoft.com/office/drawing/2014/main" id="{7DCD57E8-2CA4-5403-8D3A-B46A117F1865}"/>
              </a:ext>
            </a:extLst>
          </p:cNvPr>
          <p:cNvSpPr/>
          <p:nvPr userDrawn="1"/>
        </p:nvSpPr>
        <p:spPr>
          <a:xfrm>
            <a:off x="-13462" y="0"/>
            <a:ext cx="6109462" cy="6858000"/>
          </a:xfrm>
          <a:custGeom>
            <a:avLst/>
            <a:gdLst>
              <a:gd name="connsiteX0" fmla="*/ 0 w 6109462"/>
              <a:gd name="connsiteY0" fmla="*/ 0 h 6858000"/>
              <a:gd name="connsiteX1" fmla="*/ 4140200 w 6109462"/>
              <a:gd name="connsiteY1" fmla="*/ 0 h 6858000"/>
              <a:gd name="connsiteX2" fmla="*/ 4457700 w 6109462"/>
              <a:gd name="connsiteY2" fmla="*/ 0 h 6858000"/>
              <a:gd name="connsiteX3" fmla="*/ 6109462 w 6109462"/>
              <a:gd name="connsiteY3" fmla="*/ 0 h 6858000"/>
              <a:gd name="connsiteX4" fmla="*/ 6109462 w 6109462"/>
              <a:gd name="connsiteY4" fmla="*/ 4789046 h 6858000"/>
              <a:gd name="connsiteX5" fmla="*/ 6109462 w 6109462"/>
              <a:gd name="connsiteY5" fmla="*/ 4902200 h 6858000"/>
              <a:gd name="connsiteX6" fmla="*/ 6109462 w 6109462"/>
              <a:gd name="connsiteY6" fmla="*/ 6010018 h 6858000"/>
              <a:gd name="connsiteX7" fmla="*/ 5261480 w 6109462"/>
              <a:gd name="connsiteY7" fmla="*/ 6858000 h 6858000"/>
              <a:gd name="connsiteX8" fmla="*/ 4457700 w 6109462"/>
              <a:gd name="connsiteY8" fmla="*/ 6858000 h 6858000"/>
              <a:gd name="connsiteX9" fmla="*/ 4140200 w 6109462"/>
              <a:gd name="connsiteY9" fmla="*/ 6858000 h 6858000"/>
              <a:gd name="connsiteX10" fmla="*/ 4048382 w 6109462"/>
              <a:gd name="connsiteY10" fmla="*/ 6858000 h 6858000"/>
              <a:gd name="connsiteX11" fmla="*/ 3730882 w 6109462"/>
              <a:gd name="connsiteY11" fmla="*/ 6858000 h 6858000"/>
              <a:gd name="connsiteX12" fmla="*/ 0 w 610946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9462" h="6858000">
                <a:moveTo>
                  <a:pt x="0" y="0"/>
                </a:moveTo>
                <a:lnTo>
                  <a:pt x="4140200" y="0"/>
                </a:lnTo>
                <a:lnTo>
                  <a:pt x="4457700" y="0"/>
                </a:lnTo>
                <a:lnTo>
                  <a:pt x="6109462" y="0"/>
                </a:lnTo>
                <a:lnTo>
                  <a:pt x="6109462" y="4789046"/>
                </a:lnTo>
                <a:lnTo>
                  <a:pt x="6109462" y="4902200"/>
                </a:lnTo>
                <a:lnTo>
                  <a:pt x="6109462" y="6010018"/>
                </a:lnTo>
                <a:cubicBezTo>
                  <a:pt x="6109462" y="6478346"/>
                  <a:pt x="5729808" y="6858000"/>
                  <a:pt x="5261480" y="6858000"/>
                </a:cubicBezTo>
                <a:lnTo>
                  <a:pt x="4457700" y="6858000"/>
                </a:lnTo>
                <a:lnTo>
                  <a:pt x="4140200" y="6858000"/>
                </a:lnTo>
                <a:lnTo>
                  <a:pt x="4048382" y="6858000"/>
                </a:lnTo>
                <a:lnTo>
                  <a:pt x="3730882"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solidFill>
                <a:schemeClr val="tx1"/>
              </a:solidFill>
            </a:endParaRPr>
          </a:p>
        </p:txBody>
      </p:sp>
      <p:sp>
        <p:nvSpPr>
          <p:cNvPr id="2" name="Title 1"/>
          <p:cNvSpPr>
            <a:spLocks noGrp="1"/>
          </p:cNvSpPr>
          <p:nvPr>
            <p:ph type="ctrTitle" hasCustomPrompt="1"/>
          </p:nvPr>
        </p:nvSpPr>
        <p:spPr>
          <a:xfrm>
            <a:off x="371476" y="368300"/>
            <a:ext cx="5368421" cy="1816100"/>
          </a:xfrm>
        </p:spPr>
        <p:txBody>
          <a:bodyPr anchor="t"/>
          <a:lstStyle>
            <a:lvl1pPr algn="l">
              <a:defRPr sz="6600">
                <a:solidFill>
                  <a:schemeClr val="bg1"/>
                </a:solidFill>
              </a:defRPr>
            </a:lvl1pPr>
          </a:lstStyle>
          <a:p>
            <a:r>
              <a:rPr lang="en-GB" dirty="0"/>
              <a:t>Click to add title</a:t>
            </a:r>
          </a:p>
        </p:txBody>
      </p:sp>
      <p:pic>
        <p:nvPicPr>
          <p:cNvPr id="3" name="Picture 29">
            <a:extLst>
              <a:ext uri="{FF2B5EF4-FFF2-40B4-BE49-F238E27FC236}">
                <a16:creationId xmlns:a16="http://schemas.microsoft.com/office/drawing/2014/main" id="{C08B9667-A40C-1FC7-3C31-73B7EC77AF1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5850"/>
            <a:ext cx="1299398" cy="320400"/>
          </a:xfrm>
          <a:prstGeom prst="rect">
            <a:avLst/>
          </a:prstGeom>
        </p:spPr>
      </p:pic>
    </p:spTree>
    <p:extLst>
      <p:ext uri="{BB962C8B-B14F-4D97-AF65-F5344CB8AC3E}">
        <p14:creationId xmlns:p14="http://schemas.microsoft.com/office/powerpoint/2010/main" val="1277352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chemeClr val="accent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DD774AC-27F4-EDB1-885A-6AD6E6F42CD9}"/>
              </a:ext>
            </a:extLst>
          </p:cNvPr>
          <p:cNvSpPr/>
          <p:nvPr userDrawn="1"/>
        </p:nvSpPr>
        <p:spPr>
          <a:xfrm>
            <a:off x="-13462" y="0"/>
            <a:ext cx="6109462" cy="6858000"/>
          </a:xfrm>
          <a:custGeom>
            <a:avLst/>
            <a:gdLst>
              <a:gd name="connsiteX0" fmla="*/ 0 w 6109462"/>
              <a:gd name="connsiteY0" fmla="*/ 0 h 6858000"/>
              <a:gd name="connsiteX1" fmla="*/ 4140200 w 6109462"/>
              <a:gd name="connsiteY1" fmla="*/ 0 h 6858000"/>
              <a:gd name="connsiteX2" fmla="*/ 4457700 w 6109462"/>
              <a:gd name="connsiteY2" fmla="*/ 0 h 6858000"/>
              <a:gd name="connsiteX3" fmla="*/ 6109462 w 6109462"/>
              <a:gd name="connsiteY3" fmla="*/ 0 h 6858000"/>
              <a:gd name="connsiteX4" fmla="*/ 6109462 w 6109462"/>
              <a:gd name="connsiteY4" fmla="*/ 4789046 h 6858000"/>
              <a:gd name="connsiteX5" fmla="*/ 6109462 w 6109462"/>
              <a:gd name="connsiteY5" fmla="*/ 4902200 h 6858000"/>
              <a:gd name="connsiteX6" fmla="*/ 6109462 w 6109462"/>
              <a:gd name="connsiteY6" fmla="*/ 6010018 h 6858000"/>
              <a:gd name="connsiteX7" fmla="*/ 5261480 w 6109462"/>
              <a:gd name="connsiteY7" fmla="*/ 6858000 h 6858000"/>
              <a:gd name="connsiteX8" fmla="*/ 4457700 w 6109462"/>
              <a:gd name="connsiteY8" fmla="*/ 6858000 h 6858000"/>
              <a:gd name="connsiteX9" fmla="*/ 4140200 w 6109462"/>
              <a:gd name="connsiteY9" fmla="*/ 6858000 h 6858000"/>
              <a:gd name="connsiteX10" fmla="*/ 4048382 w 6109462"/>
              <a:gd name="connsiteY10" fmla="*/ 6858000 h 6858000"/>
              <a:gd name="connsiteX11" fmla="*/ 3730882 w 6109462"/>
              <a:gd name="connsiteY11" fmla="*/ 6858000 h 6858000"/>
              <a:gd name="connsiteX12" fmla="*/ 0 w 610946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9462" h="6858000">
                <a:moveTo>
                  <a:pt x="0" y="0"/>
                </a:moveTo>
                <a:lnTo>
                  <a:pt x="4140200" y="0"/>
                </a:lnTo>
                <a:lnTo>
                  <a:pt x="4457700" y="0"/>
                </a:lnTo>
                <a:lnTo>
                  <a:pt x="6109462" y="0"/>
                </a:lnTo>
                <a:lnTo>
                  <a:pt x="6109462" y="4789046"/>
                </a:lnTo>
                <a:lnTo>
                  <a:pt x="6109462" y="4902200"/>
                </a:lnTo>
                <a:lnTo>
                  <a:pt x="6109462" y="6010018"/>
                </a:lnTo>
                <a:cubicBezTo>
                  <a:pt x="6109462" y="6478346"/>
                  <a:pt x="5729808" y="6858000"/>
                  <a:pt x="5261480" y="6858000"/>
                </a:cubicBezTo>
                <a:lnTo>
                  <a:pt x="4457700" y="6858000"/>
                </a:lnTo>
                <a:lnTo>
                  <a:pt x="4140200" y="6858000"/>
                </a:lnTo>
                <a:lnTo>
                  <a:pt x="4048382" y="6858000"/>
                </a:lnTo>
                <a:lnTo>
                  <a:pt x="373088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solidFill>
                <a:schemeClr val="tx1"/>
              </a:solidFill>
            </a:endParaRPr>
          </a:p>
        </p:txBody>
      </p:sp>
      <p:sp>
        <p:nvSpPr>
          <p:cNvPr id="2" name="Title 1"/>
          <p:cNvSpPr>
            <a:spLocks noGrp="1"/>
          </p:cNvSpPr>
          <p:nvPr>
            <p:ph type="ctrTitle" hasCustomPrompt="1"/>
          </p:nvPr>
        </p:nvSpPr>
        <p:spPr>
          <a:xfrm>
            <a:off x="371476" y="368300"/>
            <a:ext cx="5368422" cy="1816100"/>
          </a:xfrm>
        </p:spPr>
        <p:txBody>
          <a:bodyPr anchor="t"/>
          <a:lstStyle>
            <a:lvl1pPr algn="l">
              <a:defRPr sz="6600">
                <a:solidFill>
                  <a:schemeClr val="tx1"/>
                </a:solidFill>
              </a:defRPr>
            </a:lvl1pPr>
          </a:lstStyle>
          <a:p>
            <a:r>
              <a:rPr lang="en-GB" dirty="0"/>
              <a:t>Click to add title</a:t>
            </a:r>
          </a:p>
        </p:txBody>
      </p:sp>
      <p:pic>
        <p:nvPicPr>
          <p:cNvPr id="3" name="Picture 29">
            <a:extLst>
              <a:ext uri="{FF2B5EF4-FFF2-40B4-BE49-F238E27FC236}">
                <a16:creationId xmlns:a16="http://schemas.microsoft.com/office/drawing/2014/main" id="{92ABDFE2-43F2-D5B2-8969-89C9E4B81F9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4" name="Picture Placeholder 3">
            <a:extLst>
              <a:ext uri="{FF2B5EF4-FFF2-40B4-BE49-F238E27FC236}">
                <a16:creationId xmlns:a16="http://schemas.microsoft.com/office/drawing/2014/main" id="{386A6F5A-DFF5-3724-9BC8-FBFC348AC826}"/>
              </a:ext>
            </a:extLst>
          </p:cNvPr>
          <p:cNvSpPr>
            <a:spLocks noGrp="1"/>
          </p:cNvSpPr>
          <p:nvPr>
            <p:ph type="pic" sz="quarter" idx="13" hasCustomPrompt="1"/>
          </p:nvPr>
        </p:nvSpPr>
        <p:spPr>
          <a:xfrm>
            <a:off x="5718314" y="0"/>
            <a:ext cx="6474887" cy="6861600"/>
          </a:xfrm>
          <a:custGeom>
            <a:avLst/>
            <a:gdLst>
              <a:gd name="connsiteX0" fmla="*/ 744887 w 6474887"/>
              <a:gd name="connsiteY0" fmla="*/ 0 h 6861600"/>
              <a:gd name="connsiteX1" fmla="*/ 6474887 w 6474887"/>
              <a:gd name="connsiteY1" fmla="*/ 0 h 6861600"/>
              <a:gd name="connsiteX2" fmla="*/ 6474887 w 6474887"/>
              <a:gd name="connsiteY2" fmla="*/ 6861600 h 6861600"/>
              <a:gd name="connsiteX3" fmla="*/ 0 w 6474887"/>
              <a:gd name="connsiteY3" fmla="*/ 6861600 h 6861600"/>
              <a:gd name="connsiteX4" fmla="*/ 0 w 6474887"/>
              <a:gd name="connsiteY4" fmla="*/ 6851785 h 6861600"/>
              <a:gd name="connsiteX5" fmla="*/ 144566 w 6474887"/>
              <a:gd name="connsiteY5" fmla="*/ 6823232 h 6861600"/>
              <a:gd name="connsiteX6" fmla="*/ 744887 w 6474887"/>
              <a:gd name="connsiteY6" fmla="*/ 601769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4887" h="6861600">
                <a:moveTo>
                  <a:pt x="744887" y="0"/>
                </a:moveTo>
                <a:lnTo>
                  <a:pt x="6474887" y="0"/>
                </a:lnTo>
                <a:lnTo>
                  <a:pt x="6474887" y="6861600"/>
                </a:lnTo>
                <a:lnTo>
                  <a:pt x="0" y="6861600"/>
                </a:lnTo>
                <a:lnTo>
                  <a:pt x="0" y="6851785"/>
                </a:lnTo>
                <a:lnTo>
                  <a:pt x="144566" y="6823232"/>
                </a:lnTo>
                <a:cubicBezTo>
                  <a:pt x="491724" y="6719960"/>
                  <a:pt x="744887" y="6398390"/>
                  <a:pt x="744887" y="6017690"/>
                </a:cubicBez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Tree>
    <p:extLst>
      <p:ext uri="{BB962C8B-B14F-4D97-AF65-F5344CB8AC3E}">
        <p14:creationId xmlns:p14="http://schemas.microsoft.com/office/powerpoint/2010/main" val="392737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bg1"/>
        </a:solidFill>
        <a:effectLst/>
      </p:bgPr>
    </p:bg>
    <p:spTree>
      <p:nvGrpSpPr>
        <p:cNvPr id="1" name=""/>
        <p:cNvGrpSpPr/>
        <p:nvPr/>
      </p:nvGrpSpPr>
      <p:grpSpPr>
        <a:xfrm>
          <a:off x="0" y="0"/>
          <a:ext cx="0" cy="0"/>
          <a:chOff x="0" y="0"/>
          <a:chExt cx="0" cy="0"/>
        </a:xfrm>
      </p:grpSpPr>
      <p:pic>
        <p:nvPicPr>
          <p:cNvPr id="68" name="Picture 29">
            <a:extLst>
              <a:ext uri="{FF2B5EF4-FFF2-40B4-BE49-F238E27FC236}">
                <a16:creationId xmlns:a16="http://schemas.microsoft.com/office/drawing/2014/main" id="{5875405E-CCCA-5066-A2F0-05D63A785ED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6" y="6169025"/>
            <a:ext cx="1299395" cy="320399"/>
          </a:xfrm>
          <a:prstGeom prst="rect">
            <a:avLst/>
          </a:prstGeom>
        </p:spPr>
      </p:pic>
      <p:sp>
        <p:nvSpPr>
          <p:cNvPr id="11" name="Freeform 10">
            <a:extLst>
              <a:ext uri="{FF2B5EF4-FFF2-40B4-BE49-F238E27FC236}">
                <a16:creationId xmlns:a16="http://schemas.microsoft.com/office/drawing/2014/main" id="{BAC9BEDA-8D5D-B074-13F1-8720C4850339}"/>
              </a:ext>
            </a:extLst>
          </p:cNvPr>
          <p:cNvSpPr/>
          <p:nvPr userDrawn="1"/>
        </p:nvSpPr>
        <p:spPr>
          <a:xfrm rot="10800000">
            <a:off x="6097935" y="0"/>
            <a:ext cx="6094065" cy="6858000"/>
          </a:xfrm>
          <a:custGeom>
            <a:avLst/>
            <a:gdLst>
              <a:gd name="connsiteX0" fmla="*/ 5253764 w 6094065"/>
              <a:gd name="connsiteY0" fmla="*/ 6858000 h 6858000"/>
              <a:gd name="connsiteX1" fmla="*/ 4457700 w 6094065"/>
              <a:gd name="connsiteY1" fmla="*/ 6858000 h 6858000"/>
              <a:gd name="connsiteX2" fmla="*/ 4140200 w 6094065"/>
              <a:gd name="connsiteY2" fmla="*/ 6858000 h 6858000"/>
              <a:gd name="connsiteX3" fmla="*/ 4048382 w 6094065"/>
              <a:gd name="connsiteY3" fmla="*/ 6858000 h 6858000"/>
              <a:gd name="connsiteX4" fmla="*/ 3730882 w 6094065"/>
              <a:gd name="connsiteY4" fmla="*/ 6858000 h 6858000"/>
              <a:gd name="connsiteX5" fmla="*/ 0 w 6094065"/>
              <a:gd name="connsiteY5" fmla="*/ 6858000 h 6858000"/>
              <a:gd name="connsiteX6" fmla="*/ 0 w 6094065"/>
              <a:gd name="connsiteY6" fmla="*/ 0 h 6858000"/>
              <a:gd name="connsiteX7" fmla="*/ 4140200 w 6094065"/>
              <a:gd name="connsiteY7" fmla="*/ 0 h 6858000"/>
              <a:gd name="connsiteX8" fmla="*/ 4457700 w 6094065"/>
              <a:gd name="connsiteY8" fmla="*/ 0 h 6858000"/>
              <a:gd name="connsiteX9" fmla="*/ 6094065 w 6094065"/>
              <a:gd name="connsiteY9" fmla="*/ 0 h 6858000"/>
              <a:gd name="connsiteX10" fmla="*/ 6094065 w 6094065"/>
              <a:gd name="connsiteY10" fmla="*/ 6017690 h 6858000"/>
              <a:gd name="connsiteX11" fmla="*/ 5339671 w 6094065"/>
              <a:gd name="connsiteY11" fmla="*/ 68536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065" h="6858000">
                <a:moveTo>
                  <a:pt x="5253764" y="6858000"/>
                </a:moveTo>
                <a:lnTo>
                  <a:pt x="4457700" y="6858000"/>
                </a:lnTo>
                <a:lnTo>
                  <a:pt x="4140200" y="6858000"/>
                </a:lnTo>
                <a:lnTo>
                  <a:pt x="4048382" y="6858000"/>
                </a:lnTo>
                <a:lnTo>
                  <a:pt x="3730882" y="6858000"/>
                </a:lnTo>
                <a:lnTo>
                  <a:pt x="0" y="6858000"/>
                </a:lnTo>
                <a:lnTo>
                  <a:pt x="0" y="0"/>
                </a:lnTo>
                <a:lnTo>
                  <a:pt x="4140200" y="0"/>
                </a:lnTo>
                <a:lnTo>
                  <a:pt x="4457700" y="0"/>
                </a:lnTo>
                <a:lnTo>
                  <a:pt x="6094065" y="0"/>
                </a:lnTo>
                <a:lnTo>
                  <a:pt x="6094065" y="6017690"/>
                </a:lnTo>
                <a:cubicBezTo>
                  <a:pt x="6094065" y="6452775"/>
                  <a:pt x="5763403" y="6810630"/>
                  <a:pt x="5339671" y="68536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p>
        </p:txBody>
      </p:sp>
      <p:sp>
        <p:nvSpPr>
          <p:cNvPr id="2" name="Title 1"/>
          <p:cNvSpPr>
            <a:spLocks noGrp="1"/>
          </p:cNvSpPr>
          <p:nvPr>
            <p:ph type="ctrTitle" hasCustomPrompt="1"/>
          </p:nvPr>
        </p:nvSpPr>
        <p:spPr>
          <a:xfrm>
            <a:off x="6596063" y="2732087"/>
            <a:ext cx="5094287" cy="3171001"/>
          </a:xfrm>
        </p:spPr>
        <p:txBody>
          <a:bodyPr anchor="t"/>
          <a:lstStyle>
            <a:lvl1pPr algn="l">
              <a:defRPr sz="3200" spc="-150">
                <a:solidFill>
                  <a:schemeClr val="bg1"/>
                </a:solidFill>
              </a:defRPr>
            </a:lvl1pPr>
          </a:lstStyle>
          <a:p>
            <a:r>
              <a:rPr lang="en-GB" dirty="0"/>
              <a:t>Click to add quote</a:t>
            </a:r>
          </a:p>
        </p:txBody>
      </p:sp>
      <p:sp>
        <p:nvSpPr>
          <p:cNvPr id="13" name="Text Placeholder 12">
            <a:extLst>
              <a:ext uri="{FF2B5EF4-FFF2-40B4-BE49-F238E27FC236}">
                <a16:creationId xmlns:a16="http://schemas.microsoft.com/office/drawing/2014/main" id="{73E1AA2A-FE59-26F8-5F42-C972CA502EEA}"/>
              </a:ext>
            </a:extLst>
          </p:cNvPr>
          <p:cNvSpPr>
            <a:spLocks noGrp="1"/>
          </p:cNvSpPr>
          <p:nvPr>
            <p:ph type="body" sz="quarter" idx="19" hasCustomPrompt="1"/>
          </p:nvPr>
        </p:nvSpPr>
        <p:spPr>
          <a:xfrm>
            <a:off x="6596063" y="5943600"/>
            <a:ext cx="5094287" cy="459086"/>
          </a:xfrm>
        </p:spPr>
        <p:txBody>
          <a:bodyPr anchor="b" anchorCtr="0"/>
          <a:lstStyle>
            <a:lvl1pPr marL="0" indent="0">
              <a:lnSpc>
                <a:spcPts val="1300"/>
              </a:lnSpc>
              <a:buFontTx/>
              <a:buNone/>
              <a:defRPr sz="1400">
                <a:solidFill>
                  <a:schemeClr val="bg1"/>
                </a:solidFill>
                <a:latin typeface="+mj-lt"/>
              </a:defRPr>
            </a:lvl1pPr>
            <a:lvl2pPr marL="180000" indent="0">
              <a:buFontTx/>
              <a:buNone/>
              <a:defRPr sz="1400">
                <a:solidFill>
                  <a:schemeClr val="bg1"/>
                </a:solidFill>
                <a:latin typeface="+mj-lt"/>
              </a:defRPr>
            </a:lvl2pPr>
            <a:lvl3pPr marL="360000" indent="0">
              <a:buFontTx/>
              <a:buNone/>
              <a:defRPr sz="1400">
                <a:solidFill>
                  <a:schemeClr val="bg1"/>
                </a:solidFill>
                <a:latin typeface="+mj-lt"/>
              </a:defRPr>
            </a:lvl3pPr>
            <a:lvl4pPr>
              <a:buFontTx/>
              <a:buNone/>
              <a:defRPr sz="1400">
                <a:solidFill>
                  <a:schemeClr val="bg1"/>
                </a:solidFill>
                <a:latin typeface="+mj-lt"/>
              </a:defRPr>
            </a:lvl4pPr>
            <a:lvl5pPr>
              <a:buFontTx/>
              <a:buNone/>
              <a:defRPr sz="1400">
                <a:solidFill>
                  <a:schemeClr val="bg1"/>
                </a:solidFill>
                <a:latin typeface="+mj-lt"/>
              </a:defRPr>
            </a:lvl5pPr>
          </a:lstStyle>
          <a:p>
            <a:pPr lvl="0"/>
            <a:r>
              <a:rPr lang="en-US" dirty="0"/>
              <a:t>Click to add name</a:t>
            </a:r>
            <a:endParaRPr lang="en-001" dirty="0"/>
          </a:p>
        </p:txBody>
      </p:sp>
      <p:sp>
        <p:nvSpPr>
          <p:cNvPr id="15" name="Picture Placeholder 14">
            <a:extLst>
              <a:ext uri="{FF2B5EF4-FFF2-40B4-BE49-F238E27FC236}">
                <a16:creationId xmlns:a16="http://schemas.microsoft.com/office/drawing/2014/main" id="{DE1E942D-3262-AEC6-B74F-67FE71EA3784}"/>
              </a:ext>
            </a:extLst>
          </p:cNvPr>
          <p:cNvSpPr>
            <a:spLocks noGrp="1"/>
          </p:cNvSpPr>
          <p:nvPr>
            <p:ph type="pic" sz="quarter" idx="13" hasCustomPrompt="1"/>
          </p:nvPr>
        </p:nvSpPr>
        <p:spPr>
          <a:xfrm>
            <a:off x="-1" y="0"/>
            <a:ext cx="6569102" cy="6861600"/>
          </a:xfrm>
          <a:custGeom>
            <a:avLst/>
            <a:gdLst>
              <a:gd name="connsiteX0" fmla="*/ 1278394 w 6569102"/>
              <a:gd name="connsiteY0" fmla="*/ 6290509 h 6861600"/>
              <a:gd name="connsiteX1" fmla="*/ 1341368 w 6569102"/>
              <a:gd name="connsiteY1" fmla="*/ 6290509 h 6861600"/>
              <a:gd name="connsiteX2" fmla="*/ 1341368 w 6569102"/>
              <a:gd name="connsiteY2" fmla="*/ 6323884 h 6861600"/>
              <a:gd name="connsiteX3" fmla="*/ 1278394 w 6569102"/>
              <a:gd name="connsiteY3" fmla="*/ 6323884 h 6861600"/>
              <a:gd name="connsiteX4" fmla="*/ 1015853 w 6569102"/>
              <a:gd name="connsiteY4" fmla="*/ 6289174 h 6861600"/>
              <a:gd name="connsiteX5" fmla="*/ 1038027 w 6569102"/>
              <a:gd name="connsiteY5" fmla="*/ 6343909 h 6861600"/>
              <a:gd name="connsiteX6" fmla="*/ 993679 w 6569102"/>
              <a:gd name="connsiteY6" fmla="*/ 6343909 h 6861600"/>
              <a:gd name="connsiteX7" fmla="*/ 1542264 w 6569102"/>
              <a:gd name="connsiteY7" fmla="*/ 6265589 h 6861600"/>
              <a:gd name="connsiteX8" fmla="*/ 1542264 w 6569102"/>
              <a:gd name="connsiteY8" fmla="*/ 6393304 h 6861600"/>
              <a:gd name="connsiteX9" fmla="*/ 1572864 w 6569102"/>
              <a:gd name="connsiteY9" fmla="*/ 6393304 h 6861600"/>
              <a:gd name="connsiteX10" fmla="*/ 1572864 w 6569102"/>
              <a:gd name="connsiteY10" fmla="*/ 6334564 h 6861600"/>
              <a:gd name="connsiteX11" fmla="*/ 1630517 w 6569102"/>
              <a:gd name="connsiteY11" fmla="*/ 6393304 h 6861600"/>
              <a:gd name="connsiteX12" fmla="*/ 1672647 w 6569102"/>
              <a:gd name="connsiteY12" fmla="*/ 6393304 h 6861600"/>
              <a:gd name="connsiteX13" fmla="*/ 1603021 w 6569102"/>
              <a:gd name="connsiteY13" fmla="*/ 6325219 h 6861600"/>
              <a:gd name="connsiteX14" fmla="*/ 1669986 w 6569102"/>
              <a:gd name="connsiteY14" fmla="*/ 6265589 h 6861600"/>
              <a:gd name="connsiteX15" fmla="*/ 1629186 w 6569102"/>
              <a:gd name="connsiteY15" fmla="*/ 6265589 h 6861600"/>
              <a:gd name="connsiteX16" fmla="*/ 1572864 w 6569102"/>
              <a:gd name="connsiteY16" fmla="*/ 6317209 h 6861600"/>
              <a:gd name="connsiteX17" fmla="*/ 1572864 w 6569102"/>
              <a:gd name="connsiteY17" fmla="*/ 6265589 h 6861600"/>
              <a:gd name="connsiteX18" fmla="*/ 1248237 w 6569102"/>
              <a:gd name="connsiteY18" fmla="*/ 6265589 h 6861600"/>
              <a:gd name="connsiteX19" fmla="*/ 1248237 w 6569102"/>
              <a:gd name="connsiteY19" fmla="*/ 6393304 h 6861600"/>
              <a:gd name="connsiteX20" fmla="*/ 1278394 w 6569102"/>
              <a:gd name="connsiteY20" fmla="*/ 6393304 h 6861600"/>
              <a:gd name="connsiteX21" fmla="*/ 1278394 w 6569102"/>
              <a:gd name="connsiteY21" fmla="*/ 6349249 h 6861600"/>
              <a:gd name="connsiteX22" fmla="*/ 1311211 w 6569102"/>
              <a:gd name="connsiteY22" fmla="*/ 6349249 h 6861600"/>
              <a:gd name="connsiteX23" fmla="*/ 1338707 w 6569102"/>
              <a:gd name="connsiteY23" fmla="*/ 6393304 h 6861600"/>
              <a:gd name="connsiteX24" fmla="*/ 1371525 w 6569102"/>
              <a:gd name="connsiteY24" fmla="*/ 6393304 h 6861600"/>
              <a:gd name="connsiteX25" fmla="*/ 1342698 w 6569102"/>
              <a:gd name="connsiteY25" fmla="*/ 6349249 h 6861600"/>
              <a:gd name="connsiteX26" fmla="*/ 1345359 w 6569102"/>
              <a:gd name="connsiteY26" fmla="*/ 6349249 h 6861600"/>
              <a:gd name="connsiteX27" fmla="*/ 1370194 w 6569102"/>
              <a:gd name="connsiteY27" fmla="*/ 6329224 h 6861600"/>
              <a:gd name="connsiteX28" fmla="*/ 1370194 w 6569102"/>
              <a:gd name="connsiteY28" fmla="*/ 6286949 h 6861600"/>
              <a:gd name="connsiteX29" fmla="*/ 1349351 w 6569102"/>
              <a:gd name="connsiteY29" fmla="*/ 6265589 h 6861600"/>
              <a:gd name="connsiteX30" fmla="*/ 1104992 w 6569102"/>
              <a:gd name="connsiteY30" fmla="*/ 6265589 h 6861600"/>
              <a:gd name="connsiteX31" fmla="*/ 1104992 w 6569102"/>
              <a:gd name="connsiteY31" fmla="*/ 6393304 h 6861600"/>
              <a:gd name="connsiteX32" fmla="*/ 1226062 w 6569102"/>
              <a:gd name="connsiteY32" fmla="*/ 6393304 h 6861600"/>
              <a:gd name="connsiteX33" fmla="*/ 1226062 w 6569102"/>
              <a:gd name="connsiteY33" fmla="*/ 6367939 h 6861600"/>
              <a:gd name="connsiteX34" fmla="*/ 1133818 w 6569102"/>
              <a:gd name="connsiteY34" fmla="*/ 6367939 h 6861600"/>
              <a:gd name="connsiteX35" fmla="*/ 1133818 w 6569102"/>
              <a:gd name="connsiteY35" fmla="*/ 6341239 h 6861600"/>
              <a:gd name="connsiteX36" fmla="*/ 1212758 w 6569102"/>
              <a:gd name="connsiteY36" fmla="*/ 6341239 h 6861600"/>
              <a:gd name="connsiteX37" fmla="*/ 1212758 w 6569102"/>
              <a:gd name="connsiteY37" fmla="*/ 6315874 h 6861600"/>
              <a:gd name="connsiteX38" fmla="*/ 1133818 w 6569102"/>
              <a:gd name="connsiteY38" fmla="*/ 6315874 h 6861600"/>
              <a:gd name="connsiteX39" fmla="*/ 1133818 w 6569102"/>
              <a:gd name="connsiteY39" fmla="*/ 6290509 h 6861600"/>
              <a:gd name="connsiteX40" fmla="*/ 1224732 w 6569102"/>
              <a:gd name="connsiteY40" fmla="*/ 6290509 h 6861600"/>
              <a:gd name="connsiteX41" fmla="*/ 1224732 w 6569102"/>
              <a:gd name="connsiteY41" fmla="*/ 6265589 h 6861600"/>
              <a:gd name="connsiteX42" fmla="*/ 995896 w 6569102"/>
              <a:gd name="connsiteY42" fmla="*/ 6265589 h 6861600"/>
              <a:gd name="connsiteX43" fmla="*/ 939574 w 6569102"/>
              <a:gd name="connsiteY43" fmla="*/ 6393304 h 6861600"/>
              <a:gd name="connsiteX44" fmla="*/ 972392 w 6569102"/>
              <a:gd name="connsiteY44" fmla="*/ 6393304 h 6861600"/>
              <a:gd name="connsiteX45" fmla="*/ 983035 w 6569102"/>
              <a:gd name="connsiteY45" fmla="*/ 6367939 h 6861600"/>
              <a:gd name="connsiteX46" fmla="*/ 1048670 w 6569102"/>
              <a:gd name="connsiteY46" fmla="*/ 6367939 h 6861600"/>
              <a:gd name="connsiteX47" fmla="*/ 1060644 w 6569102"/>
              <a:gd name="connsiteY47" fmla="*/ 6393304 h 6861600"/>
              <a:gd name="connsiteX48" fmla="*/ 1092131 w 6569102"/>
              <a:gd name="connsiteY48" fmla="*/ 6393304 h 6861600"/>
              <a:gd name="connsiteX49" fmla="*/ 1035366 w 6569102"/>
              <a:gd name="connsiteY49" fmla="*/ 6265589 h 6861600"/>
              <a:gd name="connsiteX50" fmla="*/ 778147 w 6569102"/>
              <a:gd name="connsiteY50" fmla="*/ 6265589 h 6861600"/>
              <a:gd name="connsiteX51" fmla="*/ 778147 w 6569102"/>
              <a:gd name="connsiteY51" fmla="*/ 6393304 h 6861600"/>
              <a:gd name="connsiteX52" fmla="*/ 805643 w 6569102"/>
              <a:gd name="connsiteY52" fmla="*/ 6393304 h 6861600"/>
              <a:gd name="connsiteX53" fmla="*/ 805643 w 6569102"/>
              <a:gd name="connsiteY53" fmla="*/ 6319879 h 6861600"/>
              <a:gd name="connsiteX54" fmla="*/ 838460 w 6569102"/>
              <a:gd name="connsiteY54" fmla="*/ 6393304 h 6861600"/>
              <a:gd name="connsiteX55" fmla="*/ 867287 w 6569102"/>
              <a:gd name="connsiteY55" fmla="*/ 6393304 h 6861600"/>
              <a:gd name="connsiteX56" fmla="*/ 900104 w 6569102"/>
              <a:gd name="connsiteY56" fmla="*/ 6318544 h 6861600"/>
              <a:gd name="connsiteX57" fmla="*/ 900104 w 6569102"/>
              <a:gd name="connsiteY57" fmla="*/ 6393304 h 6861600"/>
              <a:gd name="connsiteX58" fmla="*/ 927600 w 6569102"/>
              <a:gd name="connsiteY58" fmla="*/ 6393304 h 6861600"/>
              <a:gd name="connsiteX59" fmla="*/ 927600 w 6569102"/>
              <a:gd name="connsiteY59" fmla="*/ 6265589 h 6861600"/>
              <a:gd name="connsiteX60" fmla="*/ 894782 w 6569102"/>
              <a:gd name="connsiteY60" fmla="*/ 6265589 h 6861600"/>
              <a:gd name="connsiteX61" fmla="*/ 852652 w 6569102"/>
              <a:gd name="connsiteY61" fmla="*/ 6361264 h 6861600"/>
              <a:gd name="connsiteX62" fmla="*/ 810965 w 6569102"/>
              <a:gd name="connsiteY62" fmla="*/ 6265589 h 6861600"/>
              <a:gd name="connsiteX63" fmla="*/ 1414986 w 6569102"/>
              <a:gd name="connsiteY63" fmla="*/ 6265144 h 6861600"/>
              <a:gd name="connsiteX64" fmla="*/ 1395472 w 6569102"/>
              <a:gd name="connsiteY64" fmla="*/ 6285169 h 6861600"/>
              <a:gd name="connsiteX65" fmla="*/ 1395472 w 6569102"/>
              <a:gd name="connsiteY65" fmla="*/ 6322549 h 6861600"/>
              <a:gd name="connsiteX66" fmla="*/ 1414986 w 6569102"/>
              <a:gd name="connsiteY66" fmla="*/ 6341239 h 6861600"/>
              <a:gd name="connsiteX67" fmla="*/ 1485942 w 6569102"/>
              <a:gd name="connsiteY67" fmla="*/ 6341239 h 6861600"/>
              <a:gd name="connsiteX68" fmla="*/ 1485942 w 6569102"/>
              <a:gd name="connsiteY68" fmla="*/ 6367939 h 6861600"/>
              <a:gd name="connsiteX69" fmla="*/ 1424299 w 6569102"/>
              <a:gd name="connsiteY69" fmla="*/ 6367939 h 6861600"/>
              <a:gd name="connsiteX70" fmla="*/ 1424299 w 6569102"/>
              <a:gd name="connsiteY70" fmla="*/ 6358594 h 6861600"/>
              <a:gd name="connsiteX71" fmla="*/ 1394142 w 6569102"/>
              <a:gd name="connsiteY71" fmla="*/ 6358594 h 6861600"/>
              <a:gd name="connsiteX72" fmla="*/ 1394142 w 6569102"/>
              <a:gd name="connsiteY72" fmla="*/ 6374614 h 6861600"/>
              <a:gd name="connsiteX73" fmla="*/ 1413655 w 6569102"/>
              <a:gd name="connsiteY73" fmla="*/ 6393304 h 6861600"/>
              <a:gd name="connsiteX74" fmla="*/ 1424299 w 6569102"/>
              <a:gd name="connsiteY74" fmla="*/ 6393304 h 6861600"/>
              <a:gd name="connsiteX75" fmla="*/ 1495256 w 6569102"/>
              <a:gd name="connsiteY75" fmla="*/ 6393304 h 6861600"/>
              <a:gd name="connsiteX76" fmla="*/ 1514769 w 6569102"/>
              <a:gd name="connsiteY76" fmla="*/ 6373279 h 6861600"/>
              <a:gd name="connsiteX77" fmla="*/ 1514769 w 6569102"/>
              <a:gd name="connsiteY77" fmla="*/ 6337234 h 6861600"/>
              <a:gd name="connsiteX78" fmla="*/ 1495256 w 6569102"/>
              <a:gd name="connsiteY78" fmla="*/ 6315874 h 6861600"/>
              <a:gd name="connsiteX79" fmla="*/ 1424299 w 6569102"/>
              <a:gd name="connsiteY79" fmla="*/ 6315874 h 6861600"/>
              <a:gd name="connsiteX80" fmla="*/ 1424299 w 6569102"/>
              <a:gd name="connsiteY80" fmla="*/ 6290509 h 6861600"/>
              <a:gd name="connsiteX81" fmla="*/ 1485942 w 6569102"/>
              <a:gd name="connsiteY81" fmla="*/ 6290509 h 6861600"/>
              <a:gd name="connsiteX82" fmla="*/ 1485942 w 6569102"/>
              <a:gd name="connsiteY82" fmla="*/ 6301189 h 6861600"/>
              <a:gd name="connsiteX83" fmla="*/ 1514769 w 6569102"/>
              <a:gd name="connsiteY83" fmla="*/ 6301189 h 6861600"/>
              <a:gd name="connsiteX84" fmla="*/ 1514769 w 6569102"/>
              <a:gd name="connsiteY84" fmla="*/ 6286504 h 6861600"/>
              <a:gd name="connsiteX85" fmla="*/ 1496586 w 6569102"/>
              <a:gd name="connsiteY85" fmla="*/ 6265144 h 6861600"/>
              <a:gd name="connsiteX86" fmla="*/ 418041 w 6569102"/>
              <a:gd name="connsiteY86" fmla="*/ 6184154 h 6861600"/>
              <a:gd name="connsiteX87" fmla="*/ 386554 w 6569102"/>
              <a:gd name="connsiteY87" fmla="*/ 6217529 h 6861600"/>
              <a:gd name="connsiteX88" fmla="*/ 386554 w 6569102"/>
              <a:gd name="connsiteY88" fmla="*/ 6441363 h 6861600"/>
              <a:gd name="connsiteX89" fmla="*/ 418041 w 6569102"/>
              <a:gd name="connsiteY89" fmla="*/ 6474738 h 6861600"/>
              <a:gd name="connsiteX90" fmla="*/ 624260 w 6569102"/>
              <a:gd name="connsiteY90" fmla="*/ 6474738 h 6861600"/>
              <a:gd name="connsiteX91" fmla="*/ 657077 w 6569102"/>
              <a:gd name="connsiteY91" fmla="*/ 6441363 h 6861600"/>
              <a:gd name="connsiteX92" fmla="*/ 657077 w 6569102"/>
              <a:gd name="connsiteY92" fmla="*/ 6431745 h 6861600"/>
              <a:gd name="connsiteX93" fmla="*/ 657077 w 6569102"/>
              <a:gd name="connsiteY93" fmla="*/ 6406389 h 6861600"/>
              <a:gd name="connsiteX94" fmla="*/ 657077 w 6569102"/>
              <a:gd name="connsiteY94" fmla="*/ 6370541 h 6861600"/>
              <a:gd name="connsiteX95" fmla="*/ 657077 w 6569102"/>
              <a:gd name="connsiteY95" fmla="*/ 6329446 h 6861600"/>
              <a:gd name="connsiteX96" fmla="*/ 657077 w 6569102"/>
              <a:gd name="connsiteY96" fmla="*/ 6288352 h 6861600"/>
              <a:gd name="connsiteX97" fmla="*/ 657077 w 6569102"/>
              <a:gd name="connsiteY97" fmla="*/ 6252503 h 6861600"/>
              <a:gd name="connsiteX98" fmla="*/ 657077 w 6569102"/>
              <a:gd name="connsiteY98" fmla="*/ 6227147 h 6861600"/>
              <a:gd name="connsiteX99" fmla="*/ 657077 w 6569102"/>
              <a:gd name="connsiteY99" fmla="*/ 6217529 h 6861600"/>
              <a:gd name="connsiteX100" fmla="*/ 624260 w 6569102"/>
              <a:gd name="connsiteY100" fmla="*/ 6184154 h 6861600"/>
              <a:gd name="connsiteX101" fmla="*/ 0 w 6569102"/>
              <a:gd name="connsiteY101" fmla="*/ 0 h 6861600"/>
              <a:gd name="connsiteX102" fmla="*/ 6569102 w 6569102"/>
              <a:gd name="connsiteY102" fmla="*/ 0 h 6861600"/>
              <a:gd name="connsiteX103" fmla="*/ 6483195 w 6569102"/>
              <a:gd name="connsiteY103" fmla="*/ 4338 h 6861600"/>
              <a:gd name="connsiteX104" fmla="*/ 5728801 w 6569102"/>
              <a:gd name="connsiteY104" fmla="*/ 840310 h 6861600"/>
              <a:gd name="connsiteX105" fmla="*/ 5728801 w 6569102"/>
              <a:gd name="connsiteY105" fmla="*/ 6861600 h 6861600"/>
              <a:gd name="connsiteX106" fmla="*/ 0 w 6569102"/>
              <a:gd name="connsiteY106"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569102" h="6861600">
                <a:moveTo>
                  <a:pt x="1278394" y="6290509"/>
                </a:moveTo>
                <a:lnTo>
                  <a:pt x="1341368" y="6290509"/>
                </a:lnTo>
                <a:lnTo>
                  <a:pt x="1341368" y="6323884"/>
                </a:lnTo>
                <a:lnTo>
                  <a:pt x="1278394" y="6323884"/>
                </a:lnTo>
                <a:close/>
                <a:moveTo>
                  <a:pt x="1015853" y="6289174"/>
                </a:moveTo>
                <a:lnTo>
                  <a:pt x="1038027" y="6343909"/>
                </a:lnTo>
                <a:lnTo>
                  <a:pt x="993679" y="6343909"/>
                </a:lnTo>
                <a:close/>
                <a:moveTo>
                  <a:pt x="1542264" y="6265589"/>
                </a:moveTo>
                <a:lnTo>
                  <a:pt x="1542264" y="6393304"/>
                </a:lnTo>
                <a:lnTo>
                  <a:pt x="1572864" y="6393304"/>
                </a:lnTo>
                <a:lnTo>
                  <a:pt x="1572864" y="6334564"/>
                </a:lnTo>
                <a:lnTo>
                  <a:pt x="1630517" y="6393304"/>
                </a:lnTo>
                <a:lnTo>
                  <a:pt x="1672647" y="6393304"/>
                </a:lnTo>
                <a:lnTo>
                  <a:pt x="1603021" y="6325219"/>
                </a:lnTo>
                <a:lnTo>
                  <a:pt x="1669986" y="6265589"/>
                </a:lnTo>
                <a:lnTo>
                  <a:pt x="1629186" y="6265589"/>
                </a:lnTo>
                <a:lnTo>
                  <a:pt x="1572864" y="6317209"/>
                </a:lnTo>
                <a:lnTo>
                  <a:pt x="1572864" y="6265589"/>
                </a:lnTo>
                <a:close/>
                <a:moveTo>
                  <a:pt x="1248237" y="6265589"/>
                </a:moveTo>
                <a:lnTo>
                  <a:pt x="1248237" y="6393304"/>
                </a:lnTo>
                <a:lnTo>
                  <a:pt x="1278394" y="6393304"/>
                </a:lnTo>
                <a:lnTo>
                  <a:pt x="1278394" y="6349249"/>
                </a:lnTo>
                <a:lnTo>
                  <a:pt x="1311211" y="6349249"/>
                </a:lnTo>
                <a:lnTo>
                  <a:pt x="1338707" y="6393304"/>
                </a:lnTo>
                <a:lnTo>
                  <a:pt x="1371525" y="6393304"/>
                </a:lnTo>
                <a:lnTo>
                  <a:pt x="1342698" y="6349249"/>
                </a:lnTo>
                <a:lnTo>
                  <a:pt x="1345359" y="6349249"/>
                </a:lnTo>
                <a:cubicBezTo>
                  <a:pt x="1362211" y="6349249"/>
                  <a:pt x="1370194" y="6339904"/>
                  <a:pt x="1370194" y="6329224"/>
                </a:cubicBezTo>
                <a:lnTo>
                  <a:pt x="1370194" y="6286949"/>
                </a:lnTo>
                <a:cubicBezTo>
                  <a:pt x="1370194" y="6273599"/>
                  <a:pt x="1362211" y="6265589"/>
                  <a:pt x="1349351" y="6265589"/>
                </a:cubicBezTo>
                <a:close/>
                <a:moveTo>
                  <a:pt x="1104992" y="6265589"/>
                </a:moveTo>
                <a:lnTo>
                  <a:pt x="1104992" y="6393304"/>
                </a:lnTo>
                <a:lnTo>
                  <a:pt x="1226062" y="6393304"/>
                </a:lnTo>
                <a:lnTo>
                  <a:pt x="1226062" y="6367939"/>
                </a:lnTo>
                <a:lnTo>
                  <a:pt x="1133818" y="6367939"/>
                </a:lnTo>
                <a:lnTo>
                  <a:pt x="1133818" y="6341239"/>
                </a:lnTo>
                <a:lnTo>
                  <a:pt x="1212758" y="6341239"/>
                </a:lnTo>
                <a:lnTo>
                  <a:pt x="1212758" y="6315874"/>
                </a:lnTo>
                <a:lnTo>
                  <a:pt x="1133818" y="6315874"/>
                </a:lnTo>
                <a:lnTo>
                  <a:pt x="1133818" y="6290509"/>
                </a:lnTo>
                <a:lnTo>
                  <a:pt x="1224732" y="6290509"/>
                </a:lnTo>
                <a:lnTo>
                  <a:pt x="1224732" y="6265589"/>
                </a:lnTo>
                <a:close/>
                <a:moveTo>
                  <a:pt x="995896" y="6265589"/>
                </a:moveTo>
                <a:lnTo>
                  <a:pt x="939574" y="6393304"/>
                </a:lnTo>
                <a:lnTo>
                  <a:pt x="972392" y="6393304"/>
                </a:lnTo>
                <a:lnTo>
                  <a:pt x="983035" y="6367939"/>
                </a:lnTo>
                <a:lnTo>
                  <a:pt x="1048670" y="6367939"/>
                </a:lnTo>
                <a:lnTo>
                  <a:pt x="1060644" y="6393304"/>
                </a:lnTo>
                <a:lnTo>
                  <a:pt x="1092131" y="6393304"/>
                </a:lnTo>
                <a:lnTo>
                  <a:pt x="1035366" y="6265589"/>
                </a:lnTo>
                <a:close/>
                <a:moveTo>
                  <a:pt x="778147" y="6265589"/>
                </a:moveTo>
                <a:lnTo>
                  <a:pt x="778147" y="6393304"/>
                </a:lnTo>
                <a:lnTo>
                  <a:pt x="805643" y="6393304"/>
                </a:lnTo>
                <a:lnTo>
                  <a:pt x="805643" y="6319879"/>
                </a:lnTo>
                <a:lnTo>
                  <a:pt x="838460" y="6393304"/>
                </a:lnTo>
                <a:lnTo>
                  <a:pt x="867287" y="6393304"/>
                </a:lnTo>
                <a:lnTo>
                  <a:pt x="900104" y="6318544"/>
                </a:lnTo>
                <a:lnTo>
                  <a:pt x="900104" y="6393304"/>
                </a:lnTo>
                <a:lnTo>
                  <a:pt x="927600" y="6393304"/>
                </a:lnTo>
                <a:lnTo>
                  <a:pt x="927600" y="6265589"/>
                </a:lnTo>
                <a:lnTo>
                  <a:pt x="894782" y="6265589"/>
                </a:lnTo>
                <a:lnTo>
                  <a:pt x="852652" y="6361264"/>
                </a:lnTo>
                <a:lnTo>
                  <a:pt x="810965" y="6265589"/>
                </a:lnTo>
                <a:close/>
                <a:moveTo>
                  <a:pt x="1414986" y="6265144"/>
                </a:moveTo>
                <a:cubicBezTo>
                  <a:pt x="1404786" y="6265144"/>
                  <a:pt x="1395472" y="6273154"/>
                  <a:pt x="1395472" y="6285169"/>
                </a:cubicBezTo>
                <a:lnTo>
                  <a:pt x="1395472" y="6322549"/>
                </a:lnTo>
                <a:cubicBezTo>
                  <a:pt x="1395472" y="6333229"/>
                  <a:pt x="1403012" y="6341239"/>
                  <a:pt x="1414986" y="6341239"/>
                </a:cubicBezTo>
                <a:lnTo>
                  <a:pt x="1485942" y="6341239"/>
                </a:lnTo>
                <a:lnTo>
                  <a:pt x="1485942" y="6367939"/>
                </a:lnTo>
                <a:lnTo>
                  <a:pt x="1424299" y="6367939"/>
                </a:lnTo>
                <a:lnTo>
                  <a:pt x="1424299" y="6358594"/>
                </a:lnTo>
                <a:lnTo>
                  <a:pt x="1394142" y="6358594"/>
                </a:lnTo>
                <a:lnTo>
                  <a:pt x="1394142" y="6374614"/>
                </a:lnTo>
                <a:cubicBezTo>
                  <a:pt x="1394142" y="6385294"/>
                  <a:pt x="1400351" y="6393304"/>
                  <a:pt x="1413655" y="6393304"/>
                </a:cubicBezTo>
                <a:lnTo>
                  <a:pt x="1424299" y="6393304"/>
                </a:lnTo>
                <a:lnTo>
                  <a:pt x="1495256" y="6393304"/>
                </a:lnTo>
                <a:cubicBezTo>
                  <a:pt x="1508116" y="6393304"/>
                  <a:pt x="1514769" y="6385294"/>
                  <a:pt x="1514769" y="6373279"/>
                </a:cubicBezTo>
                <a:lnTo>
                  <a:pt x="1514769" y="6337234"/>
                </a:lnTo>
                <a:cubicBezTo>
                  <a:pt x="1514769" y="6323884"/>
                  <a:pt x="1505899" y="6315874"/>
                  <a:pt x="1495256" y="6315874"/>
                </a:cubicBezTo>
                <a:lnTo>
                  <a:pt x="1424299" y="6315874"/>
                </a:lnTo>
                <a:lnTo>
                  <a:pt x="1424299" y="6290509"/>
                </a:lnTo>
                <a:lnTo>
                  <a:pt x="1485942" y="6290509"/>
                </a:lnTo>
                <a:lnTo>
                  <a:pt x="1485942" y="6301189"/>
                </a:lnTo>
                <a:lnTo>
                  <a:pt x="1514769" y="6301189"/>
                </a:lnTo>
                <a:lnTo>
                  <a:pt x="1514769" y="6286504"/>
                </a:lnTo>
                <a:cubicBezTo>
                  <a:pt x="1514769" y="6273154"/>
                  <a:pt x="1507230" y="6265144"/>
                  <a:pt x="1496586" y="6265144"/>
                </a:cubicBezTo>
                <a:close/>
                <a:moveTo>
                  <a:pt x="418041" y="6184154"/>
                </a:moveTo>
                <a:cubicBezTo>
                  <a:pt x="401189" y="6184154"/>
                  <a:pt x="386554" y="6198839"/>
                  <a:pt x="386554" y="6217529"/>
                </a:cubicBezTo>
                <a:lnTo>
                  <a:pt x="386554" y="6441363"/>
                </a:lnTo>
                <a:cubicBezTo>
                  <a:pt x="386554" y="6460053"/>
                  <a:pt x="401189" y="6474738"/>
                  <a:pt x="418041" y="6474738"/>
                </a:cubicBezTo>
                <a:lnTo>
                  <a:pt x="624260" y="6474738"/>
                </a:lnTo>
                <a:cubicBezTo>
                  <a:pt x="642442" y="6474738"/>
                  <a:pt x="657077" y="6460053"/>
                  <a:pt x="657077" y="6441363"/>
                </a:cubicBezTo>
                <a:lnTo>
                  <a:pt x="657077" y="6431745"/>
                </a:lnTo>
                <a:lnTo>
                  <a:pt x="657077" y="6406389"/>
                </a:lnTo>
                <a:lnTo>
                  <a:pt x="657077" y="6370541"/>
                </a:lnTo>
                <a:lnTo>
                  <a:pt x="657077" y="6329446"/>
                </a:lnTo>
                <a:lnTo>
                  <a:pt x="657077" y="6288352"/>
                </a:lnTo>
                <a:lnTo>
                  <a:pt x="657077" y="6252503"/>
                </a:lnTo>
                <a:lnTo>
                  <a:pt x="657077" y="6227147"/>
                </a:lnTo>
                <a:lnTo>
                  <a:pt x="657077" y="6217529"/>
                </a:lnTo>
                <a:cubicBezTo>
                  <a:pt x="657077" y="6198839"/>
                  <a:pt x="642442" y="6184154"/>
                  <a:pt x="624260" y="6184154"/>
                </a:cubicBezTo>
                <a:close/>
                <a:moveTo>
                  <a:pt x="0" y="0"/>
                </a:moveTo>
                <a:lnTo>
                  <a:pt x="6569102" y="0"/>
                </a:lnTo>
                <a:lnTo>
                  <a:pt x="6483195" y="4338"/>
                </a:lnTo>
                <a:cubicBezTo>
                  <a:pt x="6059463" y="47370"/>
                  <a:pt x="5728801" y="405225"/>
                  <a:pt x="5728801" y="840310"/>
                </a:cubicBezTo>
                <a:lnTo>
                  <a:pt x="5728801"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Tree>
    <p:extLst>
      <p:ext uri="{BB962C8B-B14F-4D97-AF65-F5344CB8AC3E}">
        <p14:creationId xmlns:p14="http://schemas.microsoft.com/office/powerpoint/2010/main" val="9004780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chemeClr val="accent1"/>
        </a:solidFill>
        <a:effectLst/>
      </p:bgPr>
    </p:bg>
    <p:spTree>
      <p:nvGrpSpPr>
        <p:cNvPr id="1" name=""/>
        <p:cNvGrpSpPr/>
        <p:nvPr/>
      </p:nvGrpSpPr>
      <p:grpSpPr>
        <a:xfrm>
          <a:off x="0" y="0"/>
          <a:ext cx="0" cy="0"/>
          <a:chOff x="0" y="0"/>
          <a:chExt cx="0" cy="0"/>
        </a:xfrm>
      </p:grpSpPr>
      <p:pic>
        <p:nvPicPr>
          <p:cNvPr id="29" name="Picture 29">
            <a:extLst>
              <a:ext uri="{FF2B5EF4-FFF2-40B4-BE49-F238E27FC236}">
                <a16:creationId xmlns:a16="http://schemas.microsoft.com/office/drawing/2014/main" id="{3E23ADE3-778B-3358-EA10-60B66B35AF1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6" y="6169025"/>
            <a:ext cx="1299395" cy="320399"/>
          </a:xfrm>
          <a:prstGeom prst="rect">
            <a:avLst/>
          </a:prstGeom>
        </p:spPr>
      </p:pic>
      <p:sp>
        <p:nvSpPr>
          <p:cNvPr id="10" name="Picture Placeholder 9">
            <a:extLst>
              <a:ext uri="{FF2B5EF4-FFF2-40B4-BE49-F238E27FC236}">
                <a16:creationId xmlns:a16="http://schemas.microsoft.com/office/drawing/2014/main" id="{CE4B631B-DA20-B0A6-C2DA-EECD5D93854F}"/>
              </a:ext>
            </a:extLst>
          </p:cNvPr>
          <p:cNvSpPr>
            <a:spLocks noGrp="1"/>
          </p:cNvSpPr>
          <p:nvPr>
            <p:ph type="pic" sz="quarter" idx="13" hasCustomPrompt="1"/>
          </p:nvPr>
        </p:nvSpPr>
        <p:spPr>
          <a:xfrm>
            <a:off x="-1" y="0"/>
            <a:ext cx="6569102" cy="6861600"/>
          </a:xfrm>
          <a:custGeom>
            <a:avLst/>
            <a:gdLst>
              <a:gd name="connsiteX0" fmla="*/ 1278394 w 6569102"/>
              <a:gd name="connsiteY0" fmla="*/ 6290509 h 6861600"/>
              <a:gd name="connsiteX1" fmla="*/ 1341368 w 6569102"/>
              <a:gd name="connsiteY1" fmla="*/ 6290509 h 6861600"/>
              <a:gd name="connsiteX2" fmla="*/ 1341368 w 6569102"/>
              <a:gd name="connsiteY2" fmla="*/ 6323884 h 6861600"/>
              <a:gd name="connsiteX3" fmla="*/ 1278394 w 6569102"/>
              <a:gd name="connsiteY3" fmla="*/ 6323884 h 6861600"/>
              <a:gd name="connsiteX4" fmla="*/ 1015853 w 6569102"/>
              <a:gd name="connsiteY4" fmla="*/ 6289174 h 6861600"/>
              <a:gd name="connsiteX5" fmla="*/ 1038027 w 6569102"/>
              <a:gd name="connsiteY5" fmla="*/ 6343909 h 6861600"/>
              <a:gd name="connsiteX6" fmla="*/ 993679 w 6569102"/>
              <a:gd name="connsiteY6" fmla="*/ 6343909 h 6861600"/>
              <a:gd name="connsiteX7" fmla="*/ 1542264 w 6569102"/>
              <a:gd name="connsiteY7" fmla="*/ 6265589 h 6861600"/>
              <a:gd name="connsiteX8" fmla="*/ 1542264 w 6569102"/>
              <a:gd name="connsiteY8" fmla="*/ 6393304 h 6861600"/>
              <a:gd name="connsiteX9" fmla="*/ 1572864 w 6569102"/>
              <a:gd name="connsiteY9" fmla="*/ 6393304 h 6861600"/>
              <a:gd name="connsiteX10" fmla="*/ 1572864 w 6569102"/>
              <a:gd name="connsiteY10" fmla="*/ 6334564 h 6861600"/>
              <a:gd name="connsiteX11" fmla="*/ 1630517 w 6569102"/>
              <a:gd name="connsiteY11" fmla="*/ 6393304 h 6861600"/>
              <a:gd name="connsiteX12" fmla="*/ 1672647 w 6569102"/>
              <a:gd name="connsiteY12" fmla="*/ 6393304 h 6861600"/>
              <a:gd name="connsiteX13" fmla="*/ 1603021 w 6569102"/>
              <a:gd name="connsiteY13" fmla="*/ 6325219 h 6861600"/>
              <a:gd name="connsiteX14" fmla="*/ 1669986 w 6569102"/>
              <a:gd name="connsiteY14" fmla="*/ 6265589 h 6861600"/>
              <a:gd name="connsiteX15" fmla="*/ 1629186 w 6569102"/>
              <a:gd name="connsiteY15" fmla="*/ 6265589 h 6861600"/>
              <a:gd name="connsiteX16" fmla="*/ 1572864 w 6569102"/>
              <a:gd name="connsiteY16" fmla="*/ 6317209 h 6861600"/>
              <a:gd name="connsiteX17" fmla="*/ 1572864 w 6569102"/>
              <a:gd name="connsiteY17" fmla="*/ 6265589 h 6861600"/>
              <a:gd name="connsiteX18" fmla="*/ 1248237 w 6569102"/>
              <a:gd name="connsiteY18" fmla="*/ 6265589 h 6861600"/>
              <a:gd name="connsiteX19" fmla="*/ 1248237 w 6569102"/>
              <a:gd name="connsiteY19" fmla="*/ 6393304 h 6861600"/>
              <a:gd name="connsiteX20" fmla="*/ 1278394 w 6569102"/>
              <a:gd name="connsiteY20" fmla="*/ 6393304 h 6861600"/>
              <a:gd name="connsiteX21" fmla="*/ 1278394 w 6569102"/>
              <a:gd name="connsiteY21" fmla="*/ 6349249 h 6861600"/>
              <a:gd name="connsiteX22" fmla="*/ 1311211 w 6569102"/>
              <a:gd name="connsiteY22" fmla="*/ 6349249 h 6861600"/>
              <a:gd name="connsiteX23" fmla="*/ 1338707 w 6569102"/>
              <a:gd name="connsiteY23" fmla="*/ 6393304 h 6861600"/>
              <a:gd name="connsiteX24" fmla="*/ 1371525 w 6569102"/>
              <a:gd name="connsiteY24" fmla="*/ 6393304 h 6861600"/>
              <a:gd name="connsiteX25" fmla="*/ 1342698 w 6569102"/>
              <a:gd name="connsiteY25" fmla="*/ 6349249 h 6861600"/>
              <a:gd name="connsiteX26" fmla="*/ 1345359 w 6569102"/>
              <a:gd name="connsiteY26" fmla="*/ 6349249 h 6861600"/>
              <a:gd name="connsiteX27" fmla="*/ 1370194 w 6569102"/>
              <a:gd name="connsiteY27" fmla="*/ 6329224 h 6861600"/>
              <a:gd name="connsiteX28" fmla="*/ 1370194 w 6569102"/>
              <a:gd name="connsiteY28" fmla="*/ 6286949 h 6861600"/>
              <a:gd name="connsiteX29" fmla="*/ 1349351 w 6569102"/>
              <a:gd name="connsiteY29" fmla="*/ 6265589 h 6861600"/>
              <a:gd name="connsiteX30" fmla="*/ 1104992 w 6569102"/>
              <a:gd name="connsiteY30" fmla="*/ 6265589 h 6861600"/>
              <a:gd name="connsiteX31" fmla="*/ 1104992 w 6569102"/>
              <a:gd name="connsiteY31" fmla="*/ 6393304 h 6861600"/>
              <a:gd name="connsiteX32" fmla="*/ 1226062 w 6569102"/>
              <a:gd name="connsiteY32" fmla="*/ 6393304 h 6861600"/>
              <a:gd name="connsiteX33" fmla="*/ 1226062 w 6569102"/>
              <a:gd name="connsiteY33" fmla="*/ 6367939 h 6861600"/>
              <a:gd name="connsiteX34" fmla="*/ 1133818 w 6569102"/>
              <a:gd name="connsiteY34" fmla="*/ 6367939 h 6861600"/>
              <a:gd name="connsiteX35" fmla="*/ 1133818 w 6569102"/>
              <a:gd name="connsiteY35" fmla="*/ 6341239 h 6861600"/>
              <a:gd name="connsiteX36" fmla="*/ 1212758 w 6569102"/>
              <a:gd name="connsiteY36" fmla="*/ 6341239 h 6861600"/>
              <a:gd name="connsiteX37" fmla="*/ 1212758 w 6569102"/>
              <a:gd name="connsiteY37" fmla="*/ 6315874 h 6861600"/>
              <a:gd name="connsiteX38" fmla="*/ 1133818 w 6569102"/>
              <a:gd name="connsiteY38" fmla="*/ 6315874 h 6861600"/>
              <a:gd name="connsiteX39" fmla="*/ 1133818 w 6569102"/>
              <a:gd name="connsiteY39" fmla="*/ 6290509 h 6861600"/>
              <a:gd name="connsiteX40" fmla="*/ 1224732 w 6569102"/>
              <a:gd name="connsiteY40" fmla="*/ 6290509 h 6861600"/>
              <a:gd name="connsiteX41" fmla="*/ 1224732 w 6569102"/>
              <a:gd name="connsiteY41" fmla="*/ 6265589 h 6861600"/>
              <a:gd name="connsiteX42" fmla="*/ 995896 w 6569102"/>
              <a:gd name="connsiteY42" fmla="*/ 6265589 h 6861600"/>
              <a:gd name="connsiteX43" fmla="*/ 939574 w 6569102"/>
              <a:gd name="connsiteY43" fmla="*/ 6393304 h 6861600"/>
              <a:gd name="connsiteX44" fmla="*/ 972392 w 6569102"/>
              <a:gd name="connsiteY44" fmla="*/ 6393304 h 6861600"/>
              <a:gd name="connsiteX45" fmla="*/ 983035 w 6569102"/>
              <a:gd name="connsiteY45" fmla="*/ 6367939 h 6861600"/>
              <a:gd name="connsiteX46" fmla="*/ 1048670 w 6569102"/>
              <a:gd name="connsiteY46" fmla="*/ 6367939 h 6861600"/>
              <a:gd name="connsiteX47" fmla="*/ 1060644 w 6569102"/>
              <a:gd name="connsiteY47" fmla="*/ 6393304 h 6861600"/>
              <a:gd name="connsiteX48" fmla="*/ 1092131 w 6569102"/>
              <a:gd name="connsiteY48" fmla="*/ 6393304 h 6861600"/>
              <a:gd name="connsiteX49" fmla="*/ 1035366 w 6569102"/>
              <a:gd name="connsiteY49" fmla="*/ 6265589 h 6861600"/>
              <a:gd name="connsiteX50" fmla="*/ 778147 w 6569102"/>
              <a:gd name="connsiteY50" fmla="*/ 6265589 h 6861600"/>
              <a:gd name="connsiteX51" fmla="*/ 778147 w 6569102"/>
              <a:gd name="connsiteY51" fmla="*/ 6393304 h 6861600"/>
              <a:gd name="connsiteX52" fmla="*/ 805643 w 6569102"/>
              <a:gd name="connsiteY52" fmla="*/ 6393304 h 6861600"/>
              <a:gd name="connsiteX53" fmla="*/ 805643 w 6569102"/>
              <a:gd name="connsiteY53" fmla="*/ 6319879 h 6861600"/>
              <a:gd name="connsiteX54" fmla="*/ 838460 w 6569102"/>
              <a:gd name="connsiteY54" fmla="*/ 6393304 h 6861600"/>
              <a:gd name="connsiteX55" fmla="*/ 867287 w 6569102"/>
              <a:gd name="connsiteY55" fmla="*/ 6393304 h 6861600"/>
              <a:gd name="connsiteX56" fmla="*/ 900104 w 6569102"/>
              <a:gd name="connsiteY56" fmla="*/ 6318544 h 6861600"/>
              <a:gd name="connsiteX57" fmla="*/ 900104 w 6569102"/>
              <a:gd name="connsiteY57" fmla="*/ 6393304 h 6861600"/>
              <a:gd name="connsiteX58" fmla="*/ 927600 w 6569102"/>
              <a:gd name="connsiteY58" fmla="*/ 6393304 h 6861600"/>
              <a:gd name="connsiteX59" fmla="*/ 927600 w 6569102"/>
              <a:gd name="connsiteY59" fmla="*/ 6265589 h 6861600"/>
              <a:gd name="connsiteX60" fmla="*/ 894782 w 6569102"/>
              <a:gd name="connsiteY60" fmla="*/ 6265589 h 6861600"/>
              <a:gd name="connsiteX61" fmla="*/ 852652 w 6569102"/>
              <a:gd name="connsiteY61" fmla="*/ 6361264 h 6861600"/>
              <a:gd name="connsiteX62" fmla="*/ 810965 w 6569102"/>
              <a:gd name="connsiteY62" fmla="*/ 6265589 h 6861600"/>
              <a:gd name="connsiteX63" fmla="*/ 1414986 w 6569102"/>
              <a:gd name="connsiteY63" fmla="*/ 6265144 h 6861600"/>
              <a:gd name="connsiteX64" fmla="*/ 1395472 w 6569102"/>
              <a:gd name="connsiteY64" fmla="*/ 6285169 h 6861600"/>
              <a:gd name="connsiteX65" fmla="*/ 1395472 w 6569102"/>
              <a:gd name="connsiteY65" fmla="*/ 6322549 h 6861600"/>
              <a:gd name="connsiteX66" fmla="*/ 1414986 w 6569102"/>
              <a:gd name="connsiteY66" fmla="*/ 6341239 h 6861600"/>
              <a:gd name="connsiteX67" fmla="*/ 1485942 w 6569102"/>
              <a:gd name="connsiteY67" fmla="*/ 6341239 h 6861600"/>
              <a:gd name="connsiteX68" fmla="*/ 1485942 w 6569102"/>
              <a:gd name="connsiteY68" fmla="*/ 6367939 h 6861600"/>
              <a:gd name="connsiteX69" fmla="*/ 1424299 w 6569102"/>
              <a:gd name="connsiteY69" fmla="*/ 6367939 h 6861600"/>
              <a:gd name="connsiteX70" fmla="*/ 1424299 w 6569102"/>
              <a:gd name="connsiteY70" fmla="*/ 6358594 h 6861600"/>
              <a:gd name="connsiteX71" fmla="*/ 1394142 w 6569102"/>
              <a:gd name="connsiteY71" fmla="*/ 6358594 h 6861600"/>
              <a:gd name="connsiteX72" fmla="*/ 1394142 w 6569102"/>
              <a:gd name="connsiteY72" fmla="*/ 6374614 h 6861600"/>
              <a:gd name="connsiteX73" fmla="*/ 1413655 w 6569102"/>
              <a:gd name="connsiteY73" fmla="*/ 6393304 h 6861600"/>
              <a:gd name="connsiteX74" fmla="*/ 1424299 w 6569102"/>
              <a:gd name="connsiteY74" fmla="*/ 6393304 h 6861600"/>
              <a:gd name="connsiteX75" fmla="*/ 1495256 w 6569102"/>
              <a:gd name="connsiteY75" fmla="*/ 6393304 h 6861600"/>
              <a:gd name="connsiteX76" fmla="*/ 1514769 w 6569102"/>
              <a:gd name="connsiteY76" fmla="*/ 6373279 h 6861600"/>
              <a:gd name="connsiteX77" fmla="*/ 1514769 w 6569102"/>
              <a:gd name="connsiteY77" fmla="*/ 6337234 h 6861600"/>
              <a:gd name="connsiteX78" fmla="*/ 1495256 w 6569102"/>
              <a:gd name="connsiteY78" fmla="*/ 6315874 h 6861600"/>
              <a:gd name="connsiteX79" fmla="*/ 1424299 w 6569102"/>
              <a:gd name="connsiteY79" fmla="*/ 6315874 h 6861600"/>
              <a:gd name="connsiteX80" fmla="*/ 1424299 w 6569102"/>
              <a:gd name="connsiteY80" fmla="*/ 6290509 h 6861600"/>
              <a:gd name="connsiteX81" fmla="*/ 1485942 w 6569102"/>
              <a:gd name="connsiteY81" fmla="*/ 6290509 h 6861600"/>
              <a:gd name="connsiteX82" fmla="*/ 1485942 w 6569102"/>
              <a:gd name="connsiteY82" fmla="*/ 6301189 h 6861600"/>
              <a:gd name="connsiteX83" fmla="*/ 1514769 w 6569102"/>
              <a:gd name="connsiteY83" fmla="*/ 6301189 h 6861600"/>
              <a:gd name="connsiteX84" fmla="*/ 1514769 w 6569102"/>
              <a:gd name="connsiteY84" fmla="*/ 6286504 h 6861600"/>
              <a:gd name="connsiteX85" fmla="*/ 1496586 w 6569102"/>
              <a:gd name="connsiteY85" fmla="*/ 6265144 h 6861600"/>
              <a:gd name="connsiteX86" fmla="*/ 418041 w 6569102"/>
              <a:gd name="connsiteY86" fmla="*/ 6184154 h 6861600"/>
              <a:gd name="connsiteX87" fmla="*/ 386554 w 6569102"/>
              <a:gd name="connsiteY87" fmla="*/ 6217529 h 6861600"/>
              <a:gd name="connsiteX88" fmla="*/ 386554 w 6569102"/>
              <a:gd name="connsiteY88" fmla="*/ 6441363 h 6861600"/>
              <a:gd name="connsiteX89" fmla="*/ 418041 w 6569102"/>
              <a:gd name="connsiteY89" fmla="*/ 6474738 h 6861600"/>
              <a:gd name="connsiteX90" fmla="*/ 624260 w 6569102"/>
              <a:gd name="connsiteY90" fmla="*/ 6474738 h 6861600"/>
              <a:gd name="connsiteX91" fmla="*/ 657077 w 6569102"/>
              <a:gd name="connsiteY91" fmla="*/ 6441363 h 6861600"/>
              <a:gd name="connsiteX92" fmla="*/ 657077 w 6569102"/>
              <a:gd name="connsiteY92" fmla="*/ 6431745 h 6861600"/>
              <a:gd name="connsiteX93" fmla="*/ 657077 w 6569102"/>
              <a:gd name="connsiteY93" fmla="*/ 6406389 h 6861600"/>
              <a:gd name="connsiteX94" fmla="*/ 657077 w 6569102"/>
              <a:gd name="connsiteY94" fmla="*/ 6370541 h 6861600"/>
              <a:gd name="connsiteX95" fmla="*/ 657077 w 6569102"/>
              <a:gd name="connsiteY95" fmla="*/ 6329446 h 6861600"/>
              <a:gd name="connsiteX96" fmla="*/ 657077 w 6569102"/>
              <a:gd name="connsiteY96" fmla="*/ 6288352 h 6861600"/>
              <a:gd name="connsiteX97" fmla="*/ 657077 w 6569102"/>
              <a:gd name="connsiteY97" fmla="*/ 6252503 h 6861600"/>
              <a:gd name="connsiteX98" fmla="*/ 657077 w 6569102"/>
              <a:gd name="connsiteY98" fmla="*/ 6227147 h 6861600"/>
              <a:gd name="connsiteX99" fmla="*/ 657077 w 6569102"/>
              <a:gd name="connsiteY99" fmla="*/ 6217529 h 6861600"/>
              <a:gd name="connsiteX100" fmla="*/ 624260 w 6569102"/>
              <a:gd name="connsiteY100" fmla="*/ 6184154 h 6861600"/>
              <a:gd name="connsiteX101" fmla="*/ 0 w 6569102"/>
              <a:gd name="connsiteY101" fmla="*/ 0 h 6861600"/>
              <a:gd name="connsiteX102" fmla="*/ 6569102 w 6569102"/>
              <a:gd name="connsiteY102" fmla="*/ 0 h 6861600"/>
              <a:gd name="connsiteX103" fmla="*/ 6483195 w 6569102"/>
              <a:gd name="connsiteY103" fmla="*/ 4338 h 6861600"/>
              <a:gd name="connsiteX104" fmla="*/ 5728801 w 6569102"/>
              <a:gd name="connsiteY104" fmla="*/ 840310 h 6861600"/>
              <a:gd name="connsiteX105" fmla="*/ 5728801 w 6569102"/>
              <a:gd name="connsiteY105" fmla="*/ 6861600 h 6861600"/>
              <a:gd name="connsiteX106" fmla="*/ 0 w 6569102"/>
              <a:gd name="connsiteY106"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569102" h="6861600">
                <a:moveTo>
                  <a:pt x="1278394" y="6290509"/>
                </a:moveTo>
                <a:lnTo>
                  <a:pt x="1341368" y="6290509"/>
                </a:lnTo>
                <a:lnTo>
                  <a:pt x="1341368" y="6323884"/>
                </a:lnTo>
                <a:lnTo>
                  <a:pt x="1278394" y="6323884"/>
                </a:lnTo>
                <a:close/>
                <a:moveTo>
                  <a:pt x="1015853" y="6289174"/>
                </a:moveTo>
                <a:lnTo>
                  <a:pt x="1038027" y="6343909"/>
                </a:lnTo>
                <a:lnTo>
                  <a:pt x="993679" y="6343909"/>
                </a:lnTo>
                <a:close/>
                <a:moveTo>
                  <a:pt x="1542264" y="6265589"/>
                </a:moveTo>
                <a:lnTo>
                  <a:pt x="1542264" y="6393304"/>
                </a:lnTo>
                <a:lnTo>
                  <a:pt x="1572864" y="6393304"/>
                </a:lnTo>
                <a:lnTo>
                  <a:pt x="1572864" y="6334564"/>
                </a:lnTo>
                <a:lnTo>
                  <a:pt x="1630517" y="6393304"/>
                </a:lnTo>
                <a:lnTo>
                  <a:pt x="1672647" y="6393304"/>
                </a:lnTo>
                <a:lnTo>
                  <a:pt x="1603021" y="6325219"/>
                </a:lnTo>
                <a:lnTo>
                  <a:pt x="1669986" y="6265589"/>
                </a:lnTo>
                <a:lnTo>
                  <a:pt x="1629186" y="6265589"/>
                </a:lnTo>
                <a:lnTo>
                  <a:pt x="1572864" y="6317209"/>
                </a:lnTo>
                <a:lnTo>
                  <a:pt x="1572864" y="6265589"/>
                </a:lnTo>
                <a:close/>
                <a:moveTo>
                  <a:pt x="1248237" y="6265589"/>
                </a:moveTo>
                <a:lnTo>
                  <a:pt x="1248237" y="6393304"/>
                </a:lnTo>
                <a:lnTo>
                  <a:pt x="1278394" y="6393304"/>
                </a:lnTo>
                <a:lnTo>
                  <a:pt x="1278394" y="6349249"/>
                </a:lnTo>
                <a:lnTo>
                  <a:pt x="1311211" y="6349249"/>
                </a:lnTo>
                <a:lnTo>
                  <a:pt x="1338707" y="6393304"/>
                </a:lnTo>
                <a:lnTo>
                  <a:pt x="1371525" y="6393304"/>
                </a:lnTo>
                <a:lnTo>
                  <a:pt x="1342698" y="6349249"/>
                </a:lnTo>
                <a:lnTo>
                  <a:pt x="1345359" y="6349249"/>
                </a:lnTo>
                <a:cubicBezTo>
                  <a:pt x="1362211" y="6349249"/>
                  <a:pt x="1370194" y="6339904"/>
                  <a:pt x="1370194" y="6329224"/>
                </a:cubicBezTo>
                <a:lnTo>
                  <a:pt x="1370194" y="6286949"/>
                </a:lnTo>
                <a:cubicBezTo>
                  <a:pt x="1370194" y="6273599"/>
                  <a:pt x="1362211" y="6265589"/>
                  <a:pt x="1349351" y="6265589"/>
                </a:cubicBezTo>
                <a:close/>
                <a:moveTo>
                  <a:pt x="1104992" y="6265589"/>
                </a:moveTo>
                <a:lnTo>
                  <a:pt x="1104992" y="6393304"/>
                </a:lnTo>
                <a:lnTo>
                  <a:pt x="1226062" y="6393304"/>
                </a:lnTo>
                <a:lnTo>
                  <a:pt x="1226062" y="6367939"/>
                </a:lnTo>
                <a:lnTo>
                  <a:pt x="1133818" y="6367939"/>
                </a:lnTo>
                <a:lnTo>
                  <a:pt x="1133818" y="6341239"/>
                </a:lnTo>
                <a:lnTo>
                  <a:pt x="1212758" y="6341239"/>
                </a:lnTo>
                <a:lnTo>
                  <a:pt x="1212758" y="6315874"/>
                </a:lnTo>
                <a:lnTo>
                  <a:pt x="1133818" y="6315874"/>
                </a:lnTo>
                <a:lnTo>
                  <a:pt x="1133818" y="6290509"/>
                </a:lnTo>
                <a:lnTo>
                  <a:pt x="1224732" y="6290509"/>
                </a:lnTo>
                <a:lnTo>
                  <a:pt x="1224732" y="6265589"/>
                </a:lnTo>
                <a:close/>
                <a:moveTo>
                  <a:pt x="995896" y="6265589"/>
                </a:moveTo>
                <a:lnTo>
                  <a:pt x="939574" y="6393304"/>
                </a:lnTo>
                <a:lnTo>
                  <a:pt x="972392" y="6393304"/>
                </a:lnTo>
                <a:lnTo>
                  <a:pt x="983035" y="6367939"/>
                </a:lnTo>
                <a:lnTo>
                  <a:pt x="1048670" y="6367939"/>
                </a:lnTo>
                <a:lnTo>
                  <a:pt x="1060644" y="6393304"/>
                </a:lnTo>
                <a:lnTo>
                  <a:pt x="1092131" y="6393304"/>
                </a:lnTo>
                <a:lnTo>
                  <a:pt x="1035366" y="6265589"/>
                </a:lnTo>
                <a:close/>
                <a:moveTo>
                  <a:pt x="778147" y="6265589"/>
                </a:moveTo>
                <a:lnTo>
                  <a:pt x="778147" y="6393304"/>
                </a:lnTo>
                <a:lnTo>
                  <a:pt x="805643" y="6393304"/>
                </a:lnTo>
                <a:lnTo>
                  <a:pt x="805643" y="6319879"/>
                </a:lnTo>
                <a:lnTo>
                  <a:pt x="838460" y="6393304"/>
                </a:lnTo>
                <a:lnTo>
                  <a:pt x="867287" y="6393304"/>
                </a:lnTo>
                <a:lnTo>
                  <a:pt x="900104" y="6318544"/>
                </a:lnTo>
                <a:lnTo>
                  <a:pt x="900104" y="6393304"/>
                </a:lnTo>
                <a:lnTo>
                  <a:pt x="927600" y="6393304"/>
                </a:lnTo>
                <a:lnTo>
                  <a:pt x="927600" y="6265589"/>
                </a:lnTo>
                <a:lnTo>
                  <a:pt x="894782" y="6265589"/>
                </a:lnTo>
                <a:lnTo>
                  <a:pt x="852652" y="6361264"/>
                </a:lnTo>
                <a:lnTo>
                  <a:pt x="810965" y="6265589"/>
                </a:lnTo>
                <a:close/>
                <a:moveTo>
                  <a:pt x="1414986" y="6265144"/>
                </a:moveTo>
                <a:cubicBezTo>
                  <a:pt x="1404786" y="6265144"/>
                  <a:pt x="1395472" y="6273154"/>
                  <a:pt x="1395472" y="6285169"/>
                </a:cubicBezTo>
                <a:lnTo>
                  <a:pt x="1395472" y="6322549"/>
                </a:lnTo>
                <a:cubicBezTo>
                  <a:pt x="1395472" y="6333229"/>
                  <a:pt x="1403012" y="6341239"/>
                  <a:pt x="1414986" y="6341239"/>
                </a:cubicBezTo>
                <a:lnTo>
                  <a:pt x="1485942" y="6341239"/>
                </a:lnTo>
                <a:lnTo>
                  <a:pt x="1485942" y="6367939"/>
                </a:lnTo>
                <a:lnTo>
                  <a:pt x="1424299" y="6367939"/>
                </a:lnTo>
                <a:lnTo>
                  <a:pt x="1424299" y="6358594"/>
                </a:lnTo>
                <a:lnTo>
                  <a:pt x="1394142" y="6358594"/>
                </a:lnTo>
                <a:lnTo>
                  <a:pt x="1394142" y="6374614"/>
                </a:lnTo>
                <a:cubicBezTo>
                  <a:pt x="1394142" y="6385294"/>
                  <a:pt x="1400351" y="6393304"/>
                  <a:pt x="1413655" y="6393304"/>
                </a:cubicBezTo>
                <a:lnTo>
                  <a:pt x="1424299" y="6393304"/>
                </a:lnTo>
                <a:lnTo>
                  <a:pt x="1495256" y="6393304"/>
                </a:lnTo>
                <a:cubicBezTo>
                  <a:pt x="1508116" y="6393304"/>
                  <a:pt x="1514769" y="6385294"/>
                  <a:pt x="1514769" y="6373279"/>
                </a:cubicBezTo>
                <a:lnTo>
                  <a:pt x="1514769" y="6337234"/>
                </a:lnTo>
                <a:cubicBezTo>
                  <a:pt x="1514769" y="6323884"/>
                  <a:pt x="1505899" y="6315874"/>
                  <a:pt x="1495256" y="6315874"/>
                </a:cubicBezTo>
                <a:lnTo>
                  <a:pt x="1424299" y="6315874"/>
                </a:lnTo>
                <a:lnTo>
                  <a:pt x="1424299" y="6290509"/>
                </a:lnTo>
                <a:lnTo>
                  <a:pt x="1485942" y="6290509"/>
                </a:lnTo>
                <a:lnTo>
                  <a:pt x="1485942" y="6301189"/>
                </a:lnTo>
                <a:lnTo>
                  <a:pt x="1514769" y="6301189"/>
                </a:lnTo>
                <a:lnTo>
                  <a:pt x="1514769" y="6286504"/>
                </a:lnTo>
                <a:cubicBezTo>
                  <a:pt x="1514769" y="6273154"/>
                  <a:pt x="1507230" y="6265144"/>
                  <a:pt x="1496586" y="6265144"/>
                </a:cubicBezTo>
                <a:close/>
                <a:moveTo>
                  <a:pt x="418041" y="6184154"/>
                </a:moveTo>
                <a:cubicBezTo>
                  <a:pt x="401189" y="6184154"/>
                  <a:pt x="386554" y="6198839"/>
                  <a:pt x="386554" y="6217529"/>
                </a:cubicBezTo>
                <a:lnTo>
                  <a:pt x="386554" y="6441363"/>
                </a:lnTo>
                <a:cubicBezTo>
                  <a:pt x="386554" y="6460053"/>
                  <a:pt x="401189" y="6474738"/>
                  <a:pt x="418041" y="6474738"/>
                </a:cubicBezTo>
                <a:lnTo>
                  <a:pt x="624260" y="6474738"/>
                </a:lnTo>
                <a:cubicBezTo>
                  <a:pt x="642442" y="6474738"/>
                  <a:pt x="657077" y="6460053"/>
                  <a:pt x="657077" y="6441363"/>
                </a:cubicBezTo>
                <a:lnTo>
                  <a:pt x="657077" y="6431745"/>
                </a:lnTo>
                <a:lnTo>
                  <a:pt x="657077" y="6406389"/>
                </a:lnTo>
                <a:lnTo>
                  <a:pt x="657077" y="6370541"/>
                </a:lnTo>
                <a:lnTo>
                  <a:pt x="657077" y="6329446"/>
                </a:lnTo>
                <a:lnTo>
                  <a:pt x="657077" y="6288352"/>
                </a:lnTo>
                <a:lnTo>
                  <a:pt x="657077" y="6252503"/>
                </a:lnTo>
                <a:lnTo>
                  <a:pt x="657077" y="6227147"/>
                </a:lnTo>
                <a:lnTo>
                  <a:pt x="657077" y="6217529"/>
                </a:lnTo>
                <a:cubicBezTo>
                  <a:pt x="657077" y="6198839"/>
                  <a:pt x="642442" y="6184154"/>
                  <a:pt x="624260" y="6184154"/>
                </a:cubicBezTo>
                <a:close/>
                <a:moveTo>
                  <a:pt x="0" y="0"/>
                </a:moveTo>
                <a:lnTo>
                  <a:pt x="6569102" y="0"/>
                </a:lnTo>
                <a:lnTo>
                  <a:pt x="6483195" y="4338"/>
                </a:lnTo>
                <a:cubicBezTo>
                  <a:pt x="6059463" y="47370"/>
                  <a:pt x="5728801" y="405225"/>
                  <a:pt x="5728801" y="840310"/>
                </a:cubicBezTo>
                <a:lnTo>
                  <a:pt x="5728801"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12" name="Freeform 11">
            <a:extLst>
              <a:ext uri="{FF2B5EF4-FFF2-40B4-BE49-F238E27FC236}">
                <a16:creationId xmlns:a16="http://schemas.microsoft.com/office/drawing/2014/main" id="{AB84FBBB-C3EE-85E2-4EDC-E8D48EFA75F7}"/>
              </a:ext>
            </a:extLst>
          </p:cNvPr>
          <p:cNvSpPr/>
          <p:nvPr userDrawn="1"/>
        </p:nvSpPr>
        <p:spPr>
          <a:xfrm rot="10800000">
            <a:off x="6097935" y="0"/>
            <a:ext cx="6094065" cy="6858000"/>
          </a:xfrm>
          <a:custGeom>
            <a:avLst/>
            <a:gdLst>
              <a:gd name="connsiteX0" fmla="*/ 5253764 w 6094065"/>
              <a:gd name="connsiteY0" fmla="*/ 6858000 h 6858000"/>
              <a:gd name="connsiteX1" fmla="*/ 4457700 w 6094065"/>
              <a:gd name="connsiteY1" fmla="*/ 6858000 h 6858000"/>
              <a:gd name="connsiteX2" fmla="*/ 4140200 w 6094065"/>
              <a:gd name="connsiteY2" fmla="*/ 6858000 h 6858000"/>
              <a:gd name="connsiteX3" fmla="*/ 4048382 w 6094065"/>
              <a:gd name="connsiteY3" fmla="*/ 6858000 h 6858000"/>
              <a:gd name="connsiteX4" fmla="*/ 3730882 w 6094065"/>
              <a:gd name="connsiteY4" fmla="*/ 6858000 h 6858000"/>
              <a:gd name="connsiteX5" fmla="*/ 0 w 6094065"/>
              <a:gd name="connsiteY5" fmla="*/ 6858000 h 6858000"/>
              <a:gd name="connsiteX6" fmla="*/ 0 w 6094065"/>
              <a:gd name="connsiteY6" fmla="*/ 0 h 6858000"/>
              <a:gd name="connsiteX7" fmla="*/ 4140200 w 6094065"/>
              <a:gd name="connsiteY7" fmla="*/ 0 h 6858000"/>
              <a:gd name="connsiteX8" fmla="*/ 4457700 w 6094065"/>
              <a:gd name="connsiteY8" fmla="*/ 0 h 6858000"/>
              <a:gd name="connsiteX9" fmla="*/ 6094065 w 6094065"/>
              <a:gd name="connsiteY9" fmla="*/ 0 h 6858000"/>
              <a:gd name="connsiteX10" fmla="*/ 6094065 w 6094065"/>
              <a:gd name="connsiteY10" fmla="*/ 6017690 h 6858000"/>
              <a:gd name="connsiteX11" fmla="*/ 5339671 w 6094065"/>
              <a:gd name="connsiteY11" fmla="*/ 68536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065" h="6858000">
                <a:moveTo>
                  <a:pt x="5253764" y="6858000"/>
                </a:moveTo>
                <a:lnTo>
                  <a:pt x="4457700" y="6858000"/>
                </a:lnTo>
                <a:lnTo>
                  <a:pt x="4140200" y="6858000"/>
                </a:lnTo>
                <a:lnTo>
                  <a:pt x="4048382" y="6858000"/>
                </a:lnTo>
                <a:lnTo>
                  <a:pt x="3730882" y="6858000"/>
                </a:lnTo>
                <a:lnTo>
                  <a:pt x="0" y="6858000"/>
                </a:lnTo>
                <a:lnTo>
                  <a:pt x="0" y="0"/>
                </a:lnTo>
                <a:lnTo>
                  <a:pt x="4140200" y="0"/>
                </a:lnTo>
                <a:lnTo>
                  <a:pt x="4457700" y="0"/>
                </a:lnTo>
                <a:lnTo>
                  <a:pt x="6094065" y="0"/>
                </a:lnTo>
                <a:lnTo>
                  <a:pt x="6094065" y="6017690"/>
                </a:lnTo>
                <a:cubicBezTo>
                  <a:pt x="6094065" y="6452775"/>
                  <a:pt x="5763403" y="6810630"/>
                  <a:pt x="5339671" y="685366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p>
        </p:txBody>
      </p:sp>
      <p:sp>
        <p:nvSpPr>
          <p:cNvPr id="2" name="Title 1"/>
          <p:cNvSpPr>
            <a:spLocks noGrp="1"/>
          </p:cNvSpPr>
          <p:nvPr>
            <p:ph type="ctrTitle" hasCustomPrompt="1"/>
          </p:nvPr>
        </p:nvSpPr>
        <p:spPr>
          <a:xfrm>
            <a:off x="6596063" y="2732087"/>
            <a:ext cx="5094287" cy="3171001"/>
          </a:xfrm>
        </p:spPr>
        <p:txBody>
          <a:bodyPr anchor="t"/>
          <a:lstStyle>
            <a:lvl1pPr algn="l">
              <a:defRPr sz="3200" spc="-150">
                <a:solidFill>
                  <a:schemeClr val="tx1"/>
                </a:solidFill>
              </a:defRPr>
            </a:lvl1pPr>
          </a:lstStyle>
          <a:p>
            <a:r>
              <a:rPr lang="en-GB" dirty="0"/>
              <a:t>Click to add quote</a:t>
            </a:r>
          </a:p>
        </p:txBody>
      </p:sp>
      <p:sp>
        <p:nvSpPr>
          <p:cNvPr id="3" name="Text Placeholder 12">
            <a:extLst>
              <a:ext uri="{FF2B5EF4-FFF2-40B4-BE49-F238E27FC236}">
                <a16:creationId xmlns:a16="http://schemas.microsoft.com/office/drawing/2014/main" id="{2D0F18FF-64AA-2E82-DDBF-AEF954EF3019}"/>
              </a:ext>
            </a:extLst>
          </p:cNvPr>
          <p:cNvSpPr>
            <a:spLocks noGrp="1"/>
          </p:cNvSpPr>
          <p:nvPr>
            <p:ph type="body" sz="quarter" idx="19" hasCustomPrompt="1"/>
          </p:nvPr>
        </p:nvSpPr>
        <p:spPr>
          <a:xfrm>
            <a:off x="6596063" y="5943600"/>
            <a:ext cx="5094287" cy="459086"/>
          </a:xfrm>
        </p:spPr>
        <p:txBody>
          <a:bodyPr anchor="b" anchorCtr="0"/>
          <a:lstStyle>
            <a:lvl1pPr marL="0" indent="0">
              <a:lnSpc>
                <a:spcPts val="1300"/>
              </a:lnSpc>
              <a:buFontTx/>
              <a:buNone/>
              <a:defRPr sz="1400">
                <a:solidFill>
                  <a:schemeClr val="tx1"/>
                </a:solidFill>
                <a:latin typeface="+mj-lt"/>
              </a:defRPr>
            </a:lvl1pPr>
            <a:lvl2pPr marL="180000" indent="0">
              <a:buFontTx/>
              <a:buNone/>
              <a:defRPr sz="1400">
                <a:solidFill>
                  <a:schemeClr val="bg1"/>
                </a:solidFill>
                <a:latin typeface="+mj-lt"/>
              </a:defRPr>
            </a:lvl2pPr>
            <a:lvl3pPr marL="360000" indent="0">
              <a:buFontTx/>
              <a:buNone/>
              <a:defRPr sz="1400">
                <a:solidFill>
                  <a:schemeClr val="bg1"/>
                </a:solidFill>
                <a:latin typeface="+mj-lt"/>
              </a:defRPr>
            </a:lvl3pPr>
            <a:lvl4pPr>
              <a:buFontTx/>
              <a:buNone/>
              <a:defRPr sz="1400">
                <a:solidFill>
                  <a:schemeClr val="bg1"/>
                </a:solidFill>
                <a:latin typeface="+mj-lt"/>
              </a:defRPr>
            </a:lvl4pPr>
            <a:lvl5pPr>
              <a:buFontTx/>
              <a:buNone/>
              <a:defRPr sz="1400">
                <a:solidFill>
                  <a:schemeClr val="bg1"/>
                </a:solidFill>
                <a:latin typeface="+mj-lt"/>
              </a:defRPr>
            </a:lvl5pPr>
          </a:lstStyle>
          <a:p>
            <a:pPr lvl="0"/>
            <a:r>
              <a:rPr lang="en-US" dirty="0"/>
              <a:t>Click to add name</a:t>
            </a:r>
            <a:endParaRPr lang="en-001" dirty="0"/>
          </a:p>
        </p:txBody>
      </p:sp>
    </p:spTree>
    <p:extLst>
      <p:ext uri="{BB962C8B-B14F-4D97-AF65-F5344CB8AC3E}">
        <p14:creationId xmlns:p14="http://schemas.microsoft.com/office/powerpoint/2010/main" val="4432270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B">
    <p:bg>
      <p:bgPr>
        <a:solidFill>
          <a:schemeClr val="accent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AB12982D-D35D-CD4E-DFD3-3B65652528D8}"/>
              </a:ext>
            </a:extLst>
          </p:cNvPr>
          <p:cNvSpPr/>
          <p:nvPr userDrawn="1"/>
        </p:nvSpPr>
        <p:spPr>
          <a:xfrm>
            <a:off x="-1" y="-1"/>
            <a:ext cx="12192000" cy="6483404"/>
          </a:xfrm>
          <a:custGeom>
            <a:avLst/>
            <a:gdLst>
              <a:gd name="connsiteX0" fmla="*/ 0 w 12192000"/>
              <a:gd name="connsiteY0" fmla="*/ 0 h 6483404"/>
              <a:gd name="connsiteX1" fmla="*/ 8210551 w 12192000"/>
              <a:gd name="connsiteY1" fmla="*/ 0 h 6483404"/>
              <a:gd name="connsiteX2" fmla="*/ 8210551 w 12192000"/>
              <a:gd name="connsiteY2" fmla="*/ 1 h 6483404"/>
              <a:gd name="connsiteX3" fmla="*/ 12192000 w 12192000"/>
              <a:gd name="connsiteY3" fmla="*/ 1 h 6483404"/>
              <a:gd name="connsiteX4" fmla="*/ 12192000 w 12192000"/>
              <a:gd name="connsiteY4" fmla="*/ 4414450 h 6483404"/>
              <a:gd name="connsiteX5" fmla="*/ 12192000 w 12192000"/>
              <a:gd name="connsiteY5" fmla="*/ 4527604 h 6483404"/>
              <a:gd name="connsiteX6" fmla="*/ 12192000 w 12192000"/>
              <a:gd name="connsiteY6" fmla="*/ 5635422 h 6483404"/>
              <a:gd name="connsiteX7" fmla="*/ 11344018 w 12192000"/>
              <a:gd name="connsiteY7" fmla="*/ 6483404 h 6483404"/>
              <a:gd name="connsiteX8" fmla="*/ 10222738 w 12192000"/>
              <a:gd name="connsiteY8" fmla="*/ 6483404 h 6483404"/>
              <a:gd name="connsiteX9" fmla="*/ 9813420 w 12192000"/>
              <a:gd name="connsiteY9" fmla="*/ 6483404 h 6483404"/>
              <a:gd name="connsiteX10" fmla="*/ 5765038 w 12192000"/>
              <a:gd name="connsiteY10" fmla="*/ 6483404 h 6483404"/>
              <a:gd name="connsiteX11" fmla="*/ 5765038 w 12192000"/>
              <a:gd name="connsiteY11" fmla="*/ 6483403 h 6483404"/>
              <a:gd name="connsiteX12" fmla="*/ 0 w 12192000"/>
              <a:gd name="connsiteY12" fmla="*/ 6483403 h 64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483404">
                <a:moveTo>
                  <a:pt x="0" y="0"/>
                </a:moveTo>
                <a:lnTo>
                  <a:pt x="8210551" y="0"/>
                </a:lnTo>
                <a:lnTo>
                  <a:pt x="8210551" y="1"/>
                </a:lnTo>
                <a:lnTo>
                  <a:pt x="12192000" y="1"/>
                </a:lnTo>
                <a:lnTo>
                  <a:pt x="12192000" y="4414450"/>
                </a:lnTo>
                <a:lnTo>
                  <a:pt x="12192000" y="4527604"/>
                </a:lnTo>
                <a:lnTo>
                  <a:pt x="12192000" y="5635422"/>
                </a:lnTo>
                <a:cubicBezTo>
                  <a:pt x="12192000" y="6103750"/>
                  <a:pt x="11812346" y="6483404"/>
                  <a:pt x="11344018" y="6483404"/>
                </a:cubicBezTo>
                <a:lnTo>
                  <a:pt x="10222738" y="6483404"/>
                </a:lnTo>
                <a:lnTo>
                  <a:pt x="9813420" y="6483404"/>
                </a:lnTo>
                <a:lnTo>
                  <a:pt x="5765038" y="6483404"/>
                </a:lnTo>
                <a:lnTo>
                  <a:pt x="5765038" y="6483403"/>
                </a:lnTo>
                <a:lnTo>
                  <a:pt x="0" y="648340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p>
        </p:txBody>
      </p:sp>
      <p:pic>
        <p:nvPicPr>
          <p:cNvPr id="5" name="Picture 4">
            <a:extLst>
              <a:ext uri="{FF2B5EF4-FFF2-40B4-BE49-F238E27FC236}">
                <a16:creationId xmlns:a16="http://schemas.microsoft.com/office/drawing/2014/main" id="{C43A1AF0-8F3A-B813-D2C7-811831038F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1475" y="5751851"/>
            <a:ext cx="1853056" cy="413999"/>
          </a:xfrm>
          <a:prstGeom prst="rect">
            <a:avLst/>
          </a:prstGeom>
        </p:spPr>
      </p:pic>
      <p:sp>
        <p:nvSpPr>
          <p:cNvPr id="15" name="Title 1">
            <a:extLst>
              <a:ext uri="{FF2B5EF4-FFF2-40B4-BE49-F238E27FC236}">
                <a16:creationId xmlns:a16="http://schemas.microsoft.com/office/drawing/2014/main" id="{F779AE45-9325-9747-A087-FA65D14DF943}"/>
              </a:ext>
            </a:extLst>
          </p:cNvPr>
          <p:cNvSpPr>
            <a:spLocks noGrp="1"/>
          </p:cNvSpPr>
          <p:nvPr>
            <p:ph type="ctrTitle" hasCustomPrompt="1"/>
          </p:nvPr>
        </p:nvSpPr>
        <p:spPr>
          <a:xfrm>
            <a:off x="371475" y="1943100"/>
            <a:ext cx="10829925" cy="2550523"/>
          </a:xfrm>
        </p:spPr>
        <p:txBody>
          <a:bodyPr anchor="t"/>
          <a:lstStyle>
            <a:lvl1pPr algn="l">
              <a:lnSpc>
                <a:spcPts val="5800"/>
              </a:lnSpc>
              <a:defRPr sz="5400">
                <a:solidFill>
                  <a:schemeClr val="tx1"/>
                </a:solidFill>
              </a:defRPr>
            </a:lvl1pPr>
          </a:lstStyle>
          <a:p>
            <a:r>
              <a:rPr lang="en-GB" dirty="0"/>
              <a:t>Click to add title</a:t>
            </a:r>
          </a:p>
        </p:txBody>
      </p:sp>
      <p:pic>
        <p:nvPicPr>
          <p:cNvPr id="17" name="Graphic 16">
            <a:extLst>
              <a:ext uri="{FF2B5EF4-FFF2-40B4-BE49-F238E27FC236}">
                <a16:creationId xmlns:a16="http://schemas.microsoft.com/office/drawing/2014/main" id="{EA98EC77-38EE-0D5E-CC88-514A9AE6F6D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289632" y="5868710"/>
            <a:ext cx="1531435" cy="180000"/>
          </a:xfrm>
          <a:prstGeom prst="rect">
            <a:avLst/>
          </a:prstGeom>
        </p:spPr>
      </p:pic>
    </p:spTree>
    <p:extLst>
      <p:ext uri="{BB962C8B-B14F-4D97-AF65-F5344CB8AC3E}">
        <p14:creationId xmlns:p14="http://schemas.microsoft.com/office/powerpoint/2010/main" val="1065763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bleed image A">
    <p:bg>
      <p:bgPr>
        <a:solidFill>
          <a:schemeClr val="bg1"/>
        </a:solidFill>
        <a:effectLst/>
      </p:bgPr>
    </p:bg>
    <p:spTree>
      <p:nvGrpSpPr>
        <p:cNvPr id="1" name=""/>
        <p:cNvGrpSpPr/>
        <p:nvPr/>
      </p:nvGrpSpPr>
      <p:grpSpPr>
        <a:xfrm>
          <a:off x="0" y="0"/>
          <a:ext cx="0" cy="0"/>
          <a:chOff x="0" y="0"/>
          <a:chExt cx="0" cy="0"/>
        </a:xfrm>
      </p:grpSpPr>
      <p:pic>
        <p:nvPicPr>
          <p:cNvPr id="37" name="Picture 29">
            <a:extLst>
              <a:ext uri="{FF2B5EF4-FFF2-40B4-BE49-F238E27FC236}">
                <a16:creationId xmlns:a16="http://schemas.microsoft.com/office/drawing/2014/main" id="{927E9CDB-1F39-9430-8EA5-65A3BC8D111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36" name="Picture Placeholder 35">
            <a:extLst>
              <a:ext uri="{FF2B5EF4-FFF2-40B4-BE49-F238E27FC236}">
                <a16:creationId xmlns:a16="http://schemas.microsoft.com/office/drawing/2014/main" id="{67613774-AF57-BF59-8A57-A53D318AE4E9}"/>
              </a:ext>
            </a:extLst>
          </p:cNvPr>
          <p:cNvSpPr>
            <a:spLocks noGrp="1"/>
          </p:cNvSpPr>
          <p:nvPr>
            <p:ph type="pic" sz="quarter" idx="13" hasCustomPrompt="1"/>
          </p:nvPr>
        </p:nvSpPr>
        <p:spPr>
          <a:xfrm>
            <a:off x="0" y="0"/>
            <a:ext cx="12193200" cy="6861600"/>
          </a:xfrm>
          <a:custGeom>
            <a:avLst/>
            <a:gdLst>
              <a:gd name="connsiteX0" fmla="*/ 1278393 w 12193200"/>
              <a:gd name="connsiteY0" fmla="*/ 6290509 h 6861600"/>
              <a:gd name="connsiteX1" fmla="*/ 1341367 w 12193200"/>
              <a:gd name="connsiteY1" fmla="*/ 6290509 h 6861600"/>
              <a:gd name="connsiteX2" fmla="*/ 1341367 w 12193200"/>
              <a:gd name="connsiteY2" fmla="*/ 6323884 h 6861600"/>
              <a:gd name="connsiteX3" fmla="*/ 1278393 w 12193200"/>
              <a:gd name="connsiteY3" fmla="*/ 6323884 h 6861600"/>
              <a:gd name="connsiteX4" fmla="*/ 1015852 w 12193200"/>
              <a:gd name="connsiteY4" fmla="*/ 6289174 h 6861600"/>
              <a:gd name="connsiteX5" fmla="*/ 1038026 w 12193200"/>
              <a:gd name="connsiteY5" fmla="*/ 6343909 h 6861600"/>
              <a:gd name="connsiteX6" fmla="*/ 993678 w 12193200"/>
              <a:gd name="connsiteY6" fmla="*/ 6343909 h 6861600"/>
              <a:gd name="connsiteX7" fmla="*/ 1542263 w 12193200"/>
              <a:gd name="connsiteY7" fmla="*/ 6265589 h 6861600"/>
              <a:gd name="connsiteX8" fmla="*/ 1542263 w 12193200"/>
              <a:gd name="connsiteY8" fmla="*/ 6393304 h 6861600"/>
              <a:gd name="connsiteX9" fmla="*/ 1572863 w 12193200"/>
              <a:gd name="connsiteY9" fmla="*/ 6393304 h 6861600"/>
              <a:gd name="connsiteX10" fmla="*/ 1572863 w 12193200"/>
              <a:gd name="connsiteY10" fmla="*/ 6334564 h 6861600"/>
              <a:gd name="connsiteX11" fmla="*/ 1630516 w 12193200"/>
              <a:gd name="connsiteY11" fmla="*/ 6393304 h 6861600"/>
              <a:gd name="connsiteX12" fmla="*/ 1672646 w 12193200"/>
              <a:gd name="connsiteY12" fmla="*/ 6393304 h 6861600"/>
              <a:gd name="connsiteX13" fmla="*/ 1603020 w 12193200"/>
              <a:gd name="connsiteY13" fmla="*/ 6325219 h 6861600"/>
              <a:gd name="connsiteX14" fmla="*/ 1669985 w 12193200"/>
              <a:gd name="connsiteY14" fmla="*/ 6265589 h 6861600"/>
              <a:gd name="connsiteX15" fmla="*/ 1629185 w 12193200"/>
              <a:gd name="connsiteY15" fmla="*/ 6265589 h 6861600"/>
              <a:gd name="connsiteX16" fmla="*/ 1572863 w 12193200"/>
              <a:gd name="connsiteY16" fmla="*/ 6317209 h 6861600"/>
              <a:gd name="connsiteX17" fmla="*/ 1572863 w 12193200"/>
              <a:gd name="connsiteY17" fmla="*/ 6265589 h 6861600"/>
              <a:gd name="connsiteX18" fmla="*/ 1248236 w 12193200"/>
              <a:gd name="connsiteY18" fmla="*/ 6265589 h 6861600"/>
              <a:gd name="connsiteX19" fmla="*/ 1248236 w 12193200"/>
              <a:gd name="connsiteY19" fmla="*/ 6393304 h 6861600"/>
              <a:gd name="connsiteX20" fmla="*/ 1278393 w 12193200"/>
              <a:gd name="connsiteY20" fmla="*/ 6393304 h 6861600"/>
              <a:gd name="connsiteX21" fmla="*/ 1278393 w 12193200"/>
              <a:gd name="connsiteY21" fmla="*/ 6349249 h 6861600"/>
              <a:gd name="connsiteX22" fmla="*/ 1311210 w 12193200"/>
              <a:gd name="connsiteY22" fmla="*/ 6349249 h 6861600"/>
              <a:gd name="connsiteX23" fmla="*/ 1338706 w 12193200"/>
              <a:gd name="connsiteY23" fmla="*/ 6393304 h 6861600"/>
              <a:gd name="connsiteX24" fmla="*/ 1371524 w 12193200"/>
              <a:gd name="connsiteY24" fmla="*/ 6393304 h 6861600"/>
              <a:gd name="connsiteX25" fmla="*/ 1342697 w 12193200"/>
              <a:gd name="connsiteY25" fmla="*/ 6349249 h 6861600"/>
              <a:gd name="connsiteX26" fmla="*/ 1345358 w 12193200"/>
              <a:gd name="connsiteY26" fmla="*/ 6349249 h 6861600"/>
              <a:gd name="connsiteX27" fmla="*/ 1370193 w 12193200"/>
              <a:gd name="connsiteY27" fmla="*/ 6329224 h 6861600"/>
              <a:gd name="connsiteX28" fmla="*/ 1370193 w 12193200"/>
              <a:gd name="connsiteY28" fmla="*/ 6286949 h 6861600"/>
              <a:gd name="connsiteX29" fmla="*/ 1349350 w 12193200"/>
              <a:gd name="connsiteY29" fmla="*/ 6265589 h 6861600"/>
              <a:gd name="connsiteX30" fmla="*/ 1104991 w 12193200"/>
              <a:gd name="connsiteY30" fmla="*/ 6265589 h 6861600"/>
              <a:gd name="connsiteX31" fmla="*/ 1104991 w 12193200"/>
              <a:gd name="connsiteY31" fmla="*/ 6393304 h 6861600"/>
              <a:gd name="connsiteX32" fmla="*/ 1226061 w 12193200"/>
              <a:gd name="connsiteY32" fmla="*/ 6393304 h 6861600"/>
              <a:gd name="connsiteX33" fmla="*/ 1226061 w 12193200"/>
              <a:gd name="connsiteY33" fmla="*/ 6367939 h 6861600"/>
              <a:gd name="connsiteX34" fmla="*/ 1133817 w 12193200"/>
              <a:gd name="connsiteY34" fmla="*/ 6367939 h 6861600"/>
              <a:gd name="connsiteX35" fmla="*/ 1133817 w 12193200"/>
              <a:gd name="connsiteY35" fmla="*/ 6341239 h 6861600"/>
              <a:gd name="connsiteX36" fmla="*/ 1212757 w 12193200"/>
              <a:gd name="connsiteY36" fmla="*/ 6341239 h 6861600"/>
              <a:gd name="connsiteX37" fmla="*/ 1212757 w 12193200"/>
              <a:gd name="connsiteY37" fmla="*/ 6315874 h 6861600"/>
              <a:gd name="connsiteX38" fmla="*/ 1133817 w 12193200"/>
              <a:gd name="connsiteY38" fmla="*/ 6315874 h 6861600"/>
              <a:gd name="connsiteX39" fmla="*/ 1133817 w 12193200"/>
              <a:gd name="connsiteY39" fmla="*/ 6290509 h 6861600"/>
              <a:gd name="connsiteX40" fmla="*/ 1224731 w 12193200"/>
              <a:gd name="connsiteY40" fmla="*/ 6290509 h 6861600"/>
              <a:gd name="connsiteX41" fmla="*/ 1224731 w 12193200"/>
              <a:gd name="connsiteY41" fmla="*/ 6265589 h 6861600"/>
              <a:gd name="connsiteX42" fmla="*/ 995895 w 12193200"/>
              <a:gd name="connsiteY42" fmla="*/ 6265589 h 6861600"/>
              <a:gd name="connsiteX43" fmla="*/ 939573 w 12193200"/>
              <a:gd name="connsiteY43" fmla="*/ 6393304 h 6861600"/>
              <a:gd name="connsiteX44" fmla="*/ 972391 w 12193200"/>
              <a:gd name="connsiteY44" fmla="*/ 6393304 h 6861600"/>
              <a:gd name="connsiteX45" fmla="*/ 983034 w 12193200"/>
              <a:gd name="connsiteY45" fmla="*/ 6367939 h 6861600"/>
              <a:gd name="connsiteX46" fmla="*/ 1048669 w 12193200"/>
              <a:gd name="connsiteY46" fmla="*/ 6367939 h 6861600"/>
              <a:gd name="connsiteX47" fmla="*/ 1060643 w 12193200"/>
              <a:gd name="connsiteY47" fmla="*/ 6393304 h 6861600"/>
              <a:gd name="connsiteX48" fmla="*/ 1092130 w 12193200"/>
              <a:gd name="connsiteY48" fmla="*/ 6393304 h 6861600"/>
              <a:gd name="connsiteX49" fmla="*/ 1035365 w 12193200"/>
              <a:gd name="connsiteY49" fmla="*/ 6265589 h 6861600"/>
              <a:gd name="connsiteX50" fmla="*/ 778146 w 12193200"/>
              <a:gd name="connsiteY50" fmla="*/ 6265589 h 6861600"/>
              <a:gd name="connsiteX51" fmla="*/ 778146 w 12193200"/>
              <a:gd name="connsiteY51" fmla="*/ 6393304 h 6861600"/>
              <a:gd name="connsiteX52" fmla="*/ 805642 w 12193200"/>
              <a:gd name="connsiteY52" fmla="*/ 6393304 h 6861600"/>
              <a:gd name="connsiteX53" fmla="*/ 805642 w 12193200"/>
              <a:gd name="connsiteY53" fmla="*/ 6319879 h 6861600"/>
              <a:gd name="connsiteX54" fmla="*/ 838459 w 12193200"/>
              <a:gd name="connsiteY54" fmla="*/ 6393304 h 6861600"/>
              <a:gd name="connsiteX55" fmla="*/ 867286 w 12193200"/>
              <a:gd name="connsiteY55" fmla="*/ 6393304 h 6861600"/>
              <a:gd name="connsiteX56" fmla="*/ 900103 w 12193200"/>
              <a:gd name="connsiteY56" fmla="*/ 6318544 h 6861600"/>
              <a:gd name="connsiteX57" fmla="*/ 900103 w 12193200"/>
              <a:gd name="connsiteY57" fmla="*/ 6393304 h 6861600"/>
              <a:gd name="connsiteX58" fmla="*/ 927599 w 12193200"/>
              <a:gd name="connsiteY58" fmla="*/ 6393304 h 6861600"/>
              <a:gd name="connsiteX59" fmla="*/ 927599 w 12193200"/>
              <a:gd name="connsiteY59" fmla="*/ 6265589 h 6861600"/>
              <a:gd name="connsiteX60" fmla="*/ 894781 w 12193200"/>
              <a:gd name="connsiteY60" fmla="*/ 6265589 h 6861600"/>
              <a:gd name="connsiteX61" fmla="*/ 852651 w 12193200"/>
              <a:gd name="connsiteY61" fmla="*/ 6361264 h 6861600"/>
              <a:gd name="connsiteX62" fmla="*/ 810964 w 12193200"/>
              <a:gd name="connsiteY62" fmla="*/ 6265589 h 6861600"/>
              <a:gd name="connsiteX63" fmla="*/ 1414985 w 12193200"/>
              <a:gd name="connsiteY63" fmla="*/ 6265144 h 6861600"/>
              <a:gd name="connsiteX64" fmla="*/ 1395471 w 12193200"/>
              <a:gd name="connsiteY64" fmla="*/ 6285169 h 6861600"/>
              <a:gd name="connsiteX65" fmla="*/ 1395471 w 12193200"/>
              <a:gd name="connsiteY65" fmla="*/ 6322549 h 6861600"/>
              <a:gd name="connsiteX66" fmla="*/ 1414985 w 12193200"/>
              <a:gd name="connsiteY66" fmla="*/ 6341239 h 6861600"/>
              <a:gd name="connsiteX67" fmla="*/ 1485941 w 12193200"/>
              <a:gd name="connsiteY67" fmla="*/ 6341239 h 6861600"/>
              <a:gd name="connsiteX68" fmla="*/ 1485941 w 12193200"/>
              <a:gd name="connsiteY68" fmla="*/ 6367939 h 6861600"/>
              <a:gd name="connsiteX69" fmla="*/ 1424298 w 12193200"/>
              <a:gd name="connsiteY69" fmla="*/ 6367939 h 6861600"/>
              <a:gd name="connsiteX70" fmla="*/ 1424298 w 12193200"/>
              <a:gd name="connsiteY70" fmla="*/ 6358594 h 6861600"/>
              <a:gd name="connsiteX71" fmla="*/ 1394141 w 12193200"/>
              <a:gd name="connsiteY71" fmla="*/ 6358594 h 6861600"/>
              <a:gd name="connsiteX72" fmla="*/ 1394141 w 12193200"/>
              <a:gd name="connsiteY72" fmla="*/ 6374614 h 6861600"/>
              <a:gd name="connsiteX73" fmla="*/ 1413654 w 12193200"/>
              <a:gd name="connsiteY73" fmla="*/ 6393304 h 6861600"/>
              <a:gd name="connsiteX74" fmla="*/ 1424298 w 12193200"/>
              <a:gd name="connsiteY74" fmla="*/ 6393304 h 6861600"/>
              <a:gd name="connsiteX75" fmla="*/ 1495255 w 12193200"/>
              <a:gd name="connsiteY75" fmla="*/ 6393304 h 6861600"/>
              <a:gd name="connsiteX76" fmla="*/ 1514768 w 12193200"/>
              <a:gd name="connsiteY76" fmla="*/ 6373279 h 6861600"/>
              <a:gd name="connsiteX77" fmla="*/ 1514768 w 12193200"/>
              <a:gd name="connsiteY77" fmla="*/ 6337234 h 6861600"/>
              <a:gd name="connsiteX78" fmla="*/ 1495255 w 12193200"/>
              <a:gd name="connsiteY78" fmla="*/ 6315874 h 6861600"/>
              <a:gd name="connsiteX79" fmla="*/ 1424298 w 12193200"/>
              <a:gd name="connsiteY79" fmla="*/ 6315874 h 6861600"/>
              <a:gd name="connsiteX80" fmla="*/ 1424298 w 12193200"/>
              <a:gd name="connsiteY80" fmla="*/ 6290509 h 6861600"/>
              <a:gd name="connsiteX81" fmla="*/ 1485941 w 12193200"/>
              <a:gd name="connsiteY81" fmla="*/ 6290509 h 6861600"/>
              <a:gd name="connsiteX82" fmla="*/ 1485941 w 12193200"/>
              <a:gd name="connsiteY82" fmla="*/ 6301189 h 6861600"/>
              <a:gd name="connsiteX83" fmla="*/ 1514768 w 12193200"/>
              <a:gd name="connsiteY83" fmla="*/ 6301189 h 6861600"/>
              <a:gd name="connsiteX84" fmla="*/ 1514768 w 12193200"/>
              <a:gd name="connsiteY84" fmla="*/ 6286504 h 6861600"/>
              <a:gd name="connsiteX85" fmla="*/ 1496585 w 12193200"/>
              <a:gd name="connsiteY85" fmla="*/ 6265144 h 6861600"/>
              <a:gd name="connsiteX86" fmla="*/ 418040 w 12193200"/>
              <a:gd name="connsiteY86" fmla="*/ 6184154 h 6861600"/>
              <a:gd name="connsiteX87" fmla="*/ 386553 w 12193200"/>
              <a:gd name="connsiteY87" fmla="*/ 6217529 h 6861600"/>
              <a:gd name="connsiteX88" fmla="*/ 386553 w 12193200"/>
              <a:gd name="connsiteY88" fmla="*/ 6441363 h 6861600"/>
              <a:gd name="connsiteX89" fmla="*/ 418040 w 12193200"/>
              <a:gd name="connsiteY89" fmla="*/ 6474738 h 6861600"/>
              <a:gd name="connsiteX90" fmla="*/ 624259 w 12193200"/>
              <a:gd name="connsiteY90" fmla="*/ 6474738 h 6861600"/>
              <a:gd name="connsiteX91" fmla="*/ 657076 w 12193200"/>
              <a:gd name="connsiteY91" fmla="*/ 6441363 h 6861600"/>
              <a:gd name="connsiteX92" fmla="*/ 657076 w 12193200"/>
              <a:gd name="connsiteY92" fmla="*/ 6217529 h 6861600"/>
              <a:gd name="connsiteX93" fmla="*/ 624259 w 12193200"/>
              <a:gd name="connsiteY93" fmla="*/ 6184154 h 6861600"/>
              <a:gd name="connsiteX94" fmla="*/ 0 w 12193200"/>
              <a:gd name="connsiteY94" fmla="*/ 0 h 6861600"/>
              <a:gd name="connsiteX95" fmla="*/ 12193200 w 12193200"/>
              <a:gd name="connsiteY95" fmla="*/ 0 h 6861600"/>
              <a:gd name="connsiteX96" fmla="*/ 12193200 w 12193200"/>
              <a:gd name="connsiteY96" fmla="*/ 6861600 h 6861600"/>
              <a:gd name="connsiteX97" fmla="*/ 0 w 12193200"/>
              <a:gd name="connsiteY9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3200" h="6861600">
                <a:moveTo>
                  <a:pt x="1278393" y="6290509"/>
                </a:moveTo>
                <a:lnTo>
                  <a:pt x="1341367" y="6290509"/>
                </a:lnTo>
                <a:lnTo>
                  <a:pt x="1341367" y="6323884"/>
                </a:lnTo>
                <a:lnTo>
                  <a:pt x="1278393" y="6323884"/>
                </a:lnTo>
                <a:close/>
                <a:moveTo>
                  <a:pt x="1015852" y="6289174"/>
                </a:moveTo>
                <a:lnTo>
                  <a:pt x="1038026" y="6343909"/>
                </a:lnTo>
                <a:lnTo>
                  <a:pt x="993678" y="6343909"/>
                </a:lnTo>
                <a:close/>
                <a:moveTo>
                  <a:pt x="1542263" y="6265589"/>
                </a:moveTo>
                <a:lnTo>
                  <a:pt x="1542263" y="6393304"/>
                </a:lnTo>
                <a:lnTo>
                  <a:pt x="1572863" y="6393304"/>
                </a:lnTo>
                <a:lnTo>
                  <a:pt x="1572863" y="6334564"/>
                </a:lnTo>
                <a:lnTo>
                  <a:pt x="1630516" y="6393304"/>
                </a:lnTo>
                <a:lnTo>
                  <a:pt x="1672646" y="6393304"/>
                </a:lnTo>
                <a:lnTo>
                  <a:pt x="1603020" y="6325219"/>
                </a:lnTo>
                <a:lnTo>
                  <a:pt x="1669985" y="6265589"/>
                </a:lnTo>
                <a:lnTo>
                  <a:pt x="1629185" y="6265589"/>
                </a:lnTo>
                <a:lnTo>
                  <a:pt x="1572863" y="6317209"/>
                </a:lnTo>
                <a:lnTo>
                  <a:pt x="1572863" y="6265589"/>
                </a:lnTo>
                <a:close/>
                <a:moveTo>
                  <a:pt x="1248236" y="6265589"/>
                </a:moveTo>
                <a:lnTo>
                  <a:pt x="1248236" y="6393304"/>
                </a:lnTo>
                <a:lnTo>
                  <a:pt x="1278393" y="6393304"/>
                </a:lnTo>
                <a:lnTo>
                  <a:pt x="1278393" y="6349249"/>
                </a:lnTo>
                <a:lnTo>
                  <a:pt x="1311210" y="6349249"/>
                </a:lnTo>
                <a:lnTo>
                  <a:pt x="1338706" y="6393304"/>
                </a:lnTo>
                <a:lnTo>
                  <a:pt x="1371524" y="6393304"/>
                </a:lnTo>
                <a:lnTo>
                  <a:pt x="1342697" y="6349249"/>
                </a:lnTo>
                <a:lnTo>
                  <a:pt x="1345358" y="6349249"/>
                </a:lnTo>
                <a:cubicBezTo>
                  <a:pt x="1362210" y="6349249"/>
                  <a:pt x="1370193" y="6339904"/>
                  <a:pt x="1370193" y="6329224"/>
                </a:cubicBezTo>
                <a:lnTo>
                  <a:pt x="1370193" y="6286949"/>
                </a:lnTo>
                <a:cubicBezTo>
                  <a:pt x="1370193" y="6273599"/>
                  <a:pt x="1362210" y="6265589"/>
                  <a:pt x="1349350" y="6265589"/>
                </a:cubicBezTo>
                <a:close/>
                <a:moveTo>
                  <a:pt x="1104991" y="6265589"/>
                </a:moveTo>
                <a:lnTo>
                  <a:pt x="1104991" y="6393304"/>
                </a:lnTo>
                <a:lnTo>
                  <a:pt x="1226061" y="6393304"/>
                </a:lnTo>
                <a:lnTo>
                  <a:pt x="1226061" y="6367939"/>
                </a:lnTo>
                <a:lnTo>
                  <a:pt x="1133817" y="6367939"/>
                </a:lnTo>
                <a:lnTo>
                  <a:pt x="1133817" y="6341239"/>
                </a:lnTo>
                <a:lnTo>
                  <a:pt x="1212757" y="6341239"/>
                </a:lnTo>
                <a:lnTo>
                  <a:pt x="1212757" y="6315874"/>
                </a:lnTo>
                <a:lnTo>
                  <a:pt x="1133817" y="6315874"/>
                </a:lnTo>
                <a:lnTo>
                  <a:pt x="1133817" y="6290509"/>
                </a:lnTo>
                <a:lnTo>
                  <a:pt x="1224731" y="6290509"/>
                </a:lnTo>
                <a:lnTo>
                  <a:pt x="1224731" y="6265589"/>
                </a:lnTo>
                <a:close/>
                <a:moveTo>
                  <a:pt x="995895" y="6265589"/>
                </a:moveTo>
                <a:lnTo>
                  <a:pt x="939573" y="6393304"/>
                </a:lnTo>
                <a:lnTo>
                  <a:pt x="972391" y="6393304"/>
                </a:lnTo>
                <a:lnTo>
                  <a:pt x="983034" y="6367939"/>
                </a:lnTo>
                <a:lnTo>
                  <a:pt x="1048669" y="6367939"/>
                </a:lnTo>
                <a:lnTo>
                  <a:pt x="1060643" y="6393304"/>
                </a:lnTo>
                <a:lnTo>
                  <a:pt x="1092130" y="6393304"/>
                </a:lnTo>
                <a:lnTo>
                  <a:pt x="1035365" y="6265589"/>
                </a:lnTo>
                <a:close/>
                <a:moveTo>
                  <a:pt x="778146" y="6265589"/>
                </a:moveTo>
                <a:lnTo>
                  <a:pt x="778146" y="6393304"/>
                </a:lnTo>
                <a:lnTo>
                  <a:pt x="805642" y="6393304"/>
                </a:lnTo>
                <a:lnTo>
                  <a:pt x="805642" y="6319879"/>
                </a:lnTo>
                <a:lnTo>
                  <a:pt x="838459" y="6393304"/>
                </a:lnTo>
                <a:lnTo>
                  <a:pt x="867286" y="6393304"/>
                </a:lnTo>
                <a:lnTo>
                  <a:pt x="900103" y="6318544"/>
                </a:lnTo>
                <a:lnTo>
                  <a:pt x="900103" y="6393304"/>
                </a:lnTo>
                <a:lnTo>
                  <a:pt x="927599" y="6393304"/>
                </a:lnTo>
                <a:lnTo>
                  <a:pt x="927599" y="6265589"/>
                </a:lnTo>
                <a:lnTo>
                  <a:pt x="894781" y="6265589"/>
                </a:lnTo>
                <a:lnTo>
                  <a:pt x="852651" y="6361264"/>
                </a:lnTo>
                <a:lnTo>
                  <a:pt x="810964" y="6265589"/>
                </a:lnTo>
                <a:close/>
                <a:moveTo>
                  <a:pt x="1414985" y="6265144"/>
                </a:moveTo>
                <a:cubicBezTo>
                  <a:pt x="1404785" y="6265144"/>
                  <a:pt x="1395471" y="6273154"/>
                  <a:pt x="1395471" y="6285169"/>
                </a:cubicBezTo>
                <a:lnTo>
                  <a:pt x="1395471" y="6322549"/>
                </a:lnTo>
                <a:cubicBezTo>
                  <a:pt x="1395471" y="6333229"/>
                  <a:pt x="1403011" y="6341239"/>
                  <a:pt x="1414985" y="6341239"/>
                </a:cubicBezTo>
                <a:lnTo>
                  <a:pt x="1485941" y="6341239"/>
                </a:lnTo>
                <a:lnTo>
                  <a:pt x="1485941" y="6367939"/>
                </a:lnTo>
                <a:lnTo>
                  <a:pt x="1424298" y="6367939"/>
                </a:lnTo>
                <a:lnTo>
                  <a:pt x="1424298" y="6358594"/>
                </a:lnTo>
                <a:lnTo>
                  <a:pt x="1394141" y="6358594"/>
                </a:lnTo>
                <a:lnTo>
                  <a:pt x="1394141" y="6374614"/>
                </a:lnTo>
                <a:cubicBezTo>
                  <a:pt x="1394141" y="6385294"/>
                  <a:pt x="1400350" y="6393304"/>
                  <a:pt x="1413654" y="6393304"/>
                </a:cubicBezTo>
                <a:lnTo>
                  <a:pt x="1424298" y="6393304"/>
                </a:lnTo>
                <a:lnTo>
                  <a:pt x="1495255" y="6393304"/>
                </a:lnTo>
                <a:cubicBezTo>
                  <a:pt x="1508115" y="6393304"/>
                  <a:pt x="1514768" y="6385294"/>
                  <a:pt x="1514768" y="6373279"/>
                </a:cubicBezTo>
                <a:lnTo>
                  <a:pt x="1514768" y="6337234"/>
                </a:lnTo>
                <a:cubicBezTo>
                  <a:pt x="1514768" y="6323884"/>
                  <a:pt x="1505898" y="6315874"/>
                  <a:pt x="1495255" y="6315874"/>
                </a:cubicBezTo>
                <a:lnTo>
                  <a:pt x="1424298" y="6315874"/>
                </a:lnTo>
                <a:lnTo>
                  <a:pt x="1424298" y="6290509"/>
                </a:lnTo>
                <a:lnTo>
                  <a:pt x="1485941" y="6290509"/>
                </a:lnTo>
                <a:lnTo>
                  <a:pt x="1485941" y="6301189"/>
                </a:lnTo>
                <a:lnTo>
                  <a:pt x="1514768" y="6301189"/>
                </a:lnTo>
                <a:lnTo>
                  <a:pt x="1514768" y="6286504"/>
                </a:lnTo>
                <a:cubicBezTo>
                  <a:pt x="1514768" y="6273154"/>
                  <a:pt x="1507229" y="6265144"/>
                  <a:pt x="1496585" y="6265144"/>
                </a:cubicBezTo>
                <a:close/>
                <a:moveTo>
                  <a:pt x="418040" y="6184154"/>
                </a:moveTo>
                <a:cubicBezTo>
                  <a:pt x="401188" y="6184154"/>
                  <a:pt x="386553" y="6198839"/>
                  <a:pt x="386553" y="6217529"/>
                </a:cubicBezTo>
                <a:lnTo>
                  <a:pt x="386553" y="6441363"/>
                </a:lnTo>
                <a:cubicBezTo>
                  <a:pt x="386553" y="6460053"/>
                  <a:pt x="401188" y="6474738"/>
                  <a:pt x="418040" y="6474738"/>
                </a:cubicBezTo>
                <a:lnTo>
                  <a:pt x="624259" y="6474738"/>
                </a:lnTo>
                <a:cubicBezTo>
                  <a:pt x="642441" y="6474738"/>
                  <a:pt x="657076" y="6460053"/>
                  <a:pt x="657076" y="6441363"/>
                </a:cubicBezTo>
                <a:cubicBezTo>
                  <a:pt x="657076" y="6441363"/>
                  <a:pt x="657076" y="6217529"/>
                  <a:pt x="657076" y="6217529"/>
                </a:cubicBezTo>
                <a:cubicBezTo>
                  <a:pt x="657076" y="6198839"/>
                  <a:pt x="642441" y="6184154"/>
                  <a:pt x="624259" y="6184154"/>
                </a:cubicBezTo>
                <a:close/>
                <a:moveTo>
                  <a:pt x="0" y="0"/>
                </a:moveTo>
                <a:lnTo>
                  <a:pt x="12193200" y="0"/>
                </a:lnTo>
                <a:lnTo>
                  <a:pt x="12193200" y="6861600"/>
                </a:lnTo>
                <a:lnTo>
                  <a:pt x="0" y="6861600"/>
                </a:lnTo>
                <a:close/>
              </a:path>
            </a:pathLst>
          </a:custGeom>
          <a:solidFill>
            <a:schemeClr val="bg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Tree>
    <p:extLst>
      <p:ext uri="{BB962C8B-B14F-4D97-AF65-F5344CB8AC3E}">
        <p14:creationId xmlns:p14="http://schemas.microsoft.com/office/powerpoint/2010/main" val="13940144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ull bleed image B">
    <p:bg>
      <p:bgPr>
        <a:solidFill>
          <a:schemeClr val="bg1"/>
        </a:solidFill>
        <a:effectLst/>
      </p:bgPr>
    </p:bg>
    <p:spTree>
      <p:nvGrpSpPr>
        <p:cNvPr id="1" name=""/>
        <p:cNvGrpSpPr/>
        <p:nvPr/>
      </p:nvGrpSpPr>
      <p:grpSpPr>
        <a:xfrm>
          <a:off x="0" y="0"/>
          <a:ext cx="0" cy="0"/>
          <a:chOff x="0" y="0"/>
          <a:chExt cx="0" cy="0"/>
        </a:xfrm>
      </p:grpSpPr>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r>
              <a:rPr lang="en-GB" dirty="0"/>
              <a:t>.</a:t>
            </a:r>
          </a:p>
        </p:txBody>
      </p:sp>
      <p:sp>
        <p:nvSpPr>
          <p:cNvPr id="36" name="Picture Placeholder 35">
            <a:extLst>
              <a:ext uri="{FF2B5EF4-FFF2-40B4-BE49-F238E27FC236}">
                <a16:creationId xmlns:a16="http://schemas.microsoft.com/office/drawing/2014/main" id="{E20EAE02-6DC0-4394-0B31-37E2AA6B68B0}"/>
              </a:ext>
            </a:extLst>
          </p:cNvPr>
          <p:cNvSpPr>
            <a:spLocks noGrp="1"/>
          </p:cNvSpPr>
          <p:nvPr>
            <p:ph type="pic" sz="quarter" idx="13" hasCustomPrompt="1"/>
          </p:nvPr>
        </p:nvSpPr>
        <p:spPr>
          <a:xfrm>
            <a:off x="0" y="0"/>
            <a:ext cx="12193200" cy="6861600"/>
          </a:xfrm>
          <a:custGeom>
            <a:avLst/>
            <a:gdLst>
              <a:gd name="connsiteX0" fmla="*/ 1278393 w 12193200"/>
              <a:gd name="connsiteY0" fmla="*/ 6290509 h 6861600"/>
              <a:gd name="connsiteX1" fmla="*/ 1341367 w 12193200"/>
              <a:gd name="connsiteY1" fmla="*/ 6290509 h 6861600"/>
              <a:gd name="connsiteX2" fmla="*/ 1341367 w 12193200"/>
              <a:gd name="connsiteY2" fmla="*/ 6323884 h 6861600"/>
              <a:gd name="connsiteX3" fmla="*/ 1278393 w 12193200"/>
              <a:gd name="connsiteY3" fmla="*/ 6323884 h 6861600"/>
              <a:gd name="connsiteX4" fmla="*/ 1015852 w 12193200"/>
              <a:gd name="connsiteY4" fmla="*/ 6289174 h 6861600"/>
              <a:gd name="connsiteX5" fmla="*/ 1038026 w 12193200"/>
              <a:gd name="connsiteY5" fmla="*/ 6343909 h 6861600"/>
              <a:gd name="connsiteX6" fmla="*/ 993678 w 12193200"/>
              <a:gd name="connsiteY6" fmla="*/ 6343909 h 6861600"/>
              <a:gd name="connsiteX7" fmla="*/ 1542263 w 12193200"/>
              <a:gd name="connsiteY7" fmla="*/ 6265589 h 6861600"/>
              <a:gd name="connsiteX8" fmla="*/ 1542263 w 12193200"/>
              <a:gd name="connsiteY8" fmla="*/ 6393304 h 6861600"/>
              <a:gd name="connsiteX9" fmla="*/ 1572863 w 12193200"/>
              <a:gd name="connsiteY9" fmla="*/ 6393304 h 6861600"/>
              <a:gd name="connsiteX10" fmla="*/ 1572863 w 12193200"/>
              <a:gd name="connsiteY10" fmla="*/ 6334564 h 6861600"/>
              <a:gd name="connsiteX11" fmla="*/ 1630516 w 12193200"/>
              <a:gd name="connsiteY11" fmla="*/ 6393304 h 6861600"/>
              <a:gd name="connsiteX12" fmla="*/ 1672646 w 12193200"/>
              <a:gd name="connsiteY12" fmla="*/ 6393304 h 6861600"/>
              <a:gd name="connsiteX13" fmla="*/ 1603020 w 12193200"/>
              <a:gd name="connsiteY13" fmla="*/ 6325219 h 6861600"/>
              <a:gd name="connsiteX14" fmla="*/ 1669985 w 12193200"/>
              <a:gd name="connsiteY14" fmla="*/ 6265589 h 6861600"/>
              <a:gd name="connsiteX15" fmla="*/ 1629185 w 12193200"/>
              <a:gd name="connsiteY15" fmla="*/ 6265589 h 6861600"/>
              <a:gd name="connsiteX16" fmla="*/ 1572863 w 12193200"/>
              <a:gd name="connsiteY16" fmla="*/ 6317209 h 6861600"/>
              <a:gd name="connsiteX17" fmla="*/ 1572863 w 12193200"/>
              <a:gd name="connsiteY17" fmla="*/ 6265589 h 6861600"/>
              <a:gd name="connsiteX18" fmla="*/ 1248236 w 12193200"/>
              <a:gd name="connsiteY18" fmla="*/ 6265589 h 6861600"/>
              <a:gd name="connsiteX19" fmla="*/ 1248236 w 12193200"/>
              <a:gd name="connsiteY19" fmla="*/ 6393304 h 6861600"/>
              <a:gd name="connsiteX20" fmla="*/ 1278393 w 12193200"/>
              <a:gd name="connsiteY20" fmla="*/ 6393304 h 6861600"/>
              <a:gd name="connsiteX21" fmla="*/ 1278393 w 12193200"/>
              <a:gd name="connsiteY21" fmla="*/ 6349249 h 6861600"/>
              <a:gd name="connsiteX22" fmla="*/ 1311210 w 12193200"/>
              <a:gd name="connsiteY22" fmla="*/ 6349249 h 6861600"/>
              <a:gd name="connsiteX23" fmla="*/ 1338706 w 12193200"/>
              <a:gd name="connsiteY23" fmla="*/ 6393304 h 6861600"/>
              <a:gd name="connsiteX24" fmla="*/ 1371524 w 12193200"/>
              <a:gd name="connsiteY24" fmla="*/ 6393304 h 6861600"/>
              <a:gd name="connsiteX25" fmla="*/ 1342697 w 12193200"/>
              <a:gd name="connsiteY25" fmla="*/ 6349249 h 6861600"/>
              <a:gd name="connsiteX26" fmla="*/ 1345358 w 12193200"/>
              <a:gd name="connsiteY26" fmla="*/ 6349249 h 6861600"/>
              <a:gd name="connsiteX27" fmla="*/ 1370193 w 12193200"/>
              <a:gd name="connsiteY27" fmla="*/ 6329224 h 6861600"/>
              <a:gd name="connsiteX28" fmla="*/ 1370193 w 12193200"/>
              <a:gd name="connsiteY28" fmla="*/ 6286949 h 6861600"/>
              <a:gd name="connsiteX29" fmla="*/ 1349350 w 12193200"/>
              <a:gd name="connsiteY29" fmla="*/ 6265589 h 6861600"/>
              <a:gd name="connsiteX30" fmla="*/ 1104991 w 12193200"/>
              <a:gd name="connsiteY30" fmla="*/ 6265589 h 6861600"/>
              <a:gd name="connsiteX31" fmla="*/ 1104991 w 12193200"/>
              <a:gd name="connsiteY31" fmla="*/ 6393304 h 6861600"/>
              <a:gd name="connsiteX32" fmla="*/ 1226061 w 12193200"/>
              <a:gd name="connsiteY32" fmla="*/ 6393304 h 6861600"/>
              <a:gd name="connsiteX33" fmla="*/ 1226061 w 12193200"/>
              <a:gd name="connsiteY33" fmla="*/ 6367939 h 6861600"/>
              <a:gd name="connsiteX34" fmla="*/ 1133817 w 12193200"/>
              <a:gd name="connsiteY34" fmla="*/ 6367939 h 6861600"/>
              <a:gd name="connsiteX35" fmla="*/ 1133817 w 12193200"/>
              <a:gd name="connsiteY35" fmla="*/ 6341239 h 6861600"/>
              <a:gd name="connsiteX36" fmla="*/ 1212757 w 12193200"/>
              <a:gd name="connsiteY36" fmla="*/ 6341239 h 6861600"/>
              <a:gd name="connsiteX37" fmla="*/ 1212757 w 12193200"/>
              <a:gd name="connsiteY37" fmla="*/ 6315874 h 6861600"/>
              <a:gd name="connsiteX38" fmla="*/ 1133817 w 12193200"/>
              <a:gd name="connsiteY38" fmla="*/ 6315874 h 6861600"/>
              <a:gd name="connsiteX39" fmla="*/ 1133817 w 12193200"/>
              <a:gd name="connsiteY39" fmla="*/ 6290509 h 6861600"/>
              <a:gd name="connsiteX40" fmla="*/ 1224731 w 12193200"/>
              <a:gd name="connsiteY40" fmla="*/ 6290509 h 6861600"/>
              <a:gd name="connsiteX41" fmla="*/ 1224731 w 12193200"/>
              <a:gd name="connsiteY41" fmla="*/ 6265589 h 6861600"/>
              <a:gd name="connsiteX42" fmla="*/ 995895 w 12193200"/>
              <a:gd name="connsiteY42" fmla="*/ 6265589 h 6861600"/>
              <a:gd name="connsiteX43" fmla="*/ 939573 w 12193200"/>
              <a:gd name="connsiteY43" fmla="*/ 6393304 h 6861600"/>
              <a:gd name="connsiteX44" fmla="*/ 972391 w 12193200"/>
              <a:gd name="connsiteY44" fmla="*/ 6393304 h 6861600"/>
              <a:gd name="connsiteX45" fmla="*/ 983034 w 12193200"/>
              <a:gd name="connsiteY45" fmla="*/ 6367939 h 6861600"/>
              <a:gd name="connsiteX46" fmla="*/ 1048669 w 12193200"/>
              <a:gd name="connsiteY46" fmla="*/ 6367939 h 6861600"/>
              <a:gd name="connsiteX47" fmla="*/ 1060643 w 12193200"/>
              <a:gd name="connsiteY47" fmla="*/ 6393304 h 6861600"/>
              <a:gd name="connsiteX48" fmla="*/ 1092130 w 12193200"/>
              <a:gd name="connsiteY48" fmla="*/ 6393304 h 6861600"/>
              <a:gd name="connsiteX49" fmla="*/ 1035365 w 12193200"/>
              <a:gd name="connsiteY49" fmla="*/ 6265589 h 6861600"/>
              <a:gd name="connsiteX50" fmla="*/ 778146 w 12193200"/>
              <a:gd name="connsiteY50" fmla="*/ 6265589 h 6861600"/>
              <a:gd name="connsiteX51" fmla="*/ 778146 w 12193200"/>
              <a:gd name="connsiteY51" fmla="*/ 6393304 h 6861600"/>
              <a:gd name="connsiteX52" fmla="*/ 805642 w 12193200"/>
              <a:gd name="connsiteY52" fmla="*/ 6393304 h 6861600"/>
              <a:gd name="connsiteX53" fmla="*/ 805642 w 12193200"/>
              <a:gd name="connsiteY53" fmla="*/ 6319879 h 6861600"/>
              <a:gd name="connsiteX54" fmla="*/ 838459 w 12193200"/>
              <a:gd name="connsiteY54" fmla="*/ 6393304 h 6861600"/>
              <a:gd name="connsiteX55" fmla="*/ 867286 w 12193200"/>
              <a:gd name="connsiteY55" fmla="*/ 6393304 h 6861600"/>
              <a:gd name="connsiteX56" fmla="*/ 900103 w 12193200"/>
              <a:gd name="connsiteY56" fmla="*/ 6318544 h 6861600"/>
              <a:gd name="connsiteX57" fmla="*/ 900103 w 12193200"/>
              <a:gd name="connsiteY57" fmla="*/ 6393304 h 6861600"/>
              <a:gd name="connsiteX58" fmla="*/ 927599 w 12193200"/>
              <a:gd name="connsiteY58" fmla="*/ 6393304 h 6861600"/>
              <a:gd name="connsiteX59" fmla="*/ 927599 w 12193200"/>
              <a:gd name="connsiteY59" fmla="*/ 6265589 h 6861600"/>
              <a:gd name="connsiteX60" fmla="*/ 894781 w 12193200"/>
              <a:gd name="connsiteY60" fmla="*/ 6265589 h 6861600"/>
              <a:gd name="connsiteX61" fmla="*/ 852651 w 12193200"/>
              <a:gd name="connsiteY61" fmla="*/ 6361264 h 6861600"/>
              <a:gd name="connsiteX62" fmla="*/ 810964 w 12193200"/>
              <a:gd name="connsiteY62" fmla="*/ 6265589 h 6861600"/>
              <a:gd name="connsiteX63" fmla="*/ 1414985 w 12193200"/>
              <a:gd name="connsiteY63" fmla="*/ 6265144 h 6861600"/>
              <a:gd name="connsiteX64" fmla="*/ 1395471 w 12193200"/>
              <a:gd name="connsiteY64" fmla="*/ 6285169 h 6861600"/>
              <a:gd name="connsiteX65" fmla="*/ 1395471 w 12193200"/>
              <a:gd name="connsiteY65" fmla="*/ 6322549 h 6861600"/>
              <a:gd name="connsiteX66" fmla="*/ 1414985 w 12193200"/>
              <a:gd name="connsiteY66" fmla="*/ 6341239 h 6861600"/>
              <a:gd name="connsiteX67" fmla="*/ 1485941 w 12193200"/>
              <a:gd name="connsiteY67" fmla="*/ 6341239 h 6861600"/>
              <a:gd name="connsiteX68" fmla="*/ 1485941 w 12193200"/>
              <a:gd name="connsiteY68" fmla="*/ 6367939 h 6861600"/>
              <a:gd name="connsiteX69" fmla="*/ 1424298 w 12193200"/>
              <a:gd name="connsiteY69" fmla="*/ 6367939 h 6861600"/>
              <a:gd name="connsiteX70" fmla="*/ 1424298 w 12193200"/>
              <a:gd name="connsiteY70" fmla="*/ 6358594 h 6861600"/>
              <a:gd name="connsiteX71" fmla="*/ 1394141 w 12193200"/>
              <a:gd name="connsiteY71" fmla="*/ 6358594 h 6861600"/>
              <a:gd name="connsiteX72" fmla="*/ 1394141 w 12193200"/>
              <a:gd name="connsiteY72" fmla="*/ 6374614 h 6861600"/>
              <a:gd name="connsiteX73" fmla="*/ 1413654 w 12193200"/>
              <a:gd name="connsiteY73" fmla="*/ 6393304 h 6861600"/>
              <a:gd name="connsiteX74" fmla="*/ 1424298 w 12193200"/>
              <a:gd name="connsiteY74" fmla="*/ 6393304 h 6861600"/>
              <a:gd name="connsiteX75" fmla="*/ 1495255 w 12193200"/>
              <a:gd name="connsiteY75" fmla="*/ 6393304 h 6861600"/>
              <a:gd name="connsiteX76" fmla="*/ 1514768 w 12193200"/>
              <a:gd name="connsiteY76" fmla="*/ 6373279 h 6861600"/>
              <a:gd name="connsiteX77" fmla="*/ 1514768 w 12193200"/>
              <a:gd name="connsiteY77" fmla="*/ 6337234 h 6861600"/>
              <a:gd name="connsiteX78" fmla="*/ 1495255 w 12193200"/>
              <a:gd name="connsiteY78" fmla="*/ 6315874 h 6861600"/>
              <a:gd name="connsiteX79" fmla="*/ 1424298 w 12193200"/>
              <a:gd name="connsiteY79" fmla="*/ 6315874 h 6861600"/>
              <a:gd name="connsiteX80" fmla="*/ 1424298 w 12193200"/>
              <a:gd name="connsiteY80" fmla="*/ 6290509 h 6861600"/>
              <a:gd name="connsiteX81" fmla="*/ 1485941 w 12193200"/>
              <a:gd name="connsiteY81" fmla="*/ 6290509 h 6861600"/>
              <a:gd name="connsiteX82" fmla="*/ 1485941 w 12193200"/>
              <a:gd name="connsiteY82" fmla="*/ 6301189 h 6861600"/>
              <a:gd name="connsiteX83" fmla="*/ 1514768 w 12193200"/>
              <a:gd name="connsiteY83" fmla="*/ 6301189 h 6861600"/>
              <a:gd name="connsiteX84" fmla="*/ 1514768 w 12193200"/>
              <a:gd name="connsiteY84" fmla="*/ 6286504 h 6861600"/>
              <a:gd name="connsiteX85" fmla="*/ 1496585 w 12193200"/>
              <a:gd name="connsiteY85" fmla="*/ 6265144 h 6861600"/>
              <a:gd name="connsiteX86" fmla="*/ 418040 w 12193200"/>
              <a:gd name="connsiteY86" fmla="*/ 6184154 h 6861600"/>
              <a:gd name="connsiteX87" fmla="*/ 386553 w 12193200"/>
              <a:gd name="connsiteY87" fmla="*/ 6217529 h 6861600"/>
              <a:gd name="connsiteX88" fmla="*/ 386553 w 12193200"/>
              <a:gd name="connsiteY88" fmla="*/ 6441363 h 6861600"/>
              <a:gd name="connsiteX89" fmla="*/ 418040 w 12193200"/>
              <a:gd name="connsiteY89" fmla="*/ 6474738 h 6861600"/>
              <a:gd name="connsiteX90" fmla="*/ 624259 w 12193200"/>
              <a:gd name="connsiteY90" fmla="*/ 6474738 h 6861600"/>
              <a:gd name="connsiteX91" fmla="*/ 657076 w 12193200"/>
              <a:gd name="connsiteY91" fmla="*/ 6441363 h 6861600"/>
              <a:gd name="connsiteX92" fmla="*/ 657076 w 12193200"/>
              <a:gd name="connsiteY92" fmla="*/ 6217529 h 6861600"/>
              <a:gd name="connsiteX93" fmla="*/ 624259 w 12193200"/>
              <a:gd name="connsiteY93" fmla="*/ 6184154 h 6861600"/>
              <a:gd name="connsiteX94" fmla="*/ 0 w 12193200"/>
              <a:gd name="connsiteY94" fmla="*/ 0 h 6861600"/>
              <a:gd name="connsiteX95" fmla="*/ 12193200 w 12193200"/>
              <a:gd name="connsiteY95" fmla="*/ 0 h 6861600"/>
              <a:gd name="connsiteX96" fmla="*/ 12193200 w 12193200"/>
              <a:gd name="connsiteY96" fmla="*/ 6861600 h 6861600"/>
              <a:gd name="connsiteX97" fmla="*/ 0 w 12193200"/>
              <a:gd name="connsiteY9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3200" h="6861600">
                <a:moveTo>
                  <a:pt x="1278393" y="6290509"/>
                </a:moveTo>
                <a:lnTo>
                  <a:pt x="1341367" y="6290509"/>
                </a:lnTo>
                <a:lnTo>
                  <a:pt x="1341367" y="6323884"/>
                </a:lnTo>
                <a:lnTo>
                  <a:pt x="1278393" y="6323884"/>
                </a:lnTo>
                <a:close/>
                <a:moveTo>
                  <a:pt x="1015852" y="6289174"/>
                </a:moveTo>
                <a:lnTo>
                  <a:pt x="1038026" y="6343909"/>
                </a:lnTo>
                <a:lnTo>
                  <a:pt x="993678" y="6343909"/>
                </a:lnTo>
                <a:close/>
                <a:moveTo>
                  <a:pt x="1542263" y="6265589"/>
                </a:moveTo>
                <a:lnTo>
                  <a:pt x="1542263" y="6393304"/>
                </a:lnTo>
                <a:lnTo>
                  <a:pt x="1572863" y="6393304"/>
                </a:lnTo>
                <a:lnTo>
                  <a:pt x="1572863" y="6334564"/>
                </a:lnTo>
                <a:lnTo>
                  <a:pt x="1630516" y="6393304"/>
                </a:lnTo>
                <a:lnTo>
                  <a:pt x="1672646" y="6393304"/>
                </a:lnTo>
                <a:lnTo>
                  <a:pt x="1603020" y="6325219"/>
                </a:lnTo>
                <a:lnTo>
                  <a:pt x="1669985" y="6265589"/>
                </a:lnTo>
                <a:lnTo>
                  <a:pt x="1629185" y="6265589"/>
                </a:lnTo>
                <a:lnTo>
                  <a:pt x="1572863" y="6317209"/>
                </a:lnTo>
                <a:lnTo>
                  <a:pt x="1572863" y="6265589"/>
                </a:lnTo>
                <a:close/>
                <a:moveTo>
                  <a:pt x="1248236" y="6265589"/>
                </a:moveTo>
                <a:lnTo>
                  <a:pt x="1248236" y="6393304"/>
                </a:lnTo>
                <a:lnTo>
                  <a:pt x="1278393" y="6393304"/>
                </a:lnTo>
                <a:lnTo>
                  <a:pt x="1278393" y="6349249"/>
                </a:lnTo>
                <a:lnTo>
                  <a:pt x="1311210" y="6349249"/>
                </a:lnTo>
                <a:lnTo>
                  <a:pt x="1338706" y="6393304"/>
                </a:lnTo>
                <a:lnTo>
                  <a:pt x="1371524" y="6393304"/>
                </a:lnTo>
                <a:lnTo>
                  <a:pt x="1342697" y="6349249"/>
                </a:lnTo>
                <a:lnTo>
                  <a:pt x="1345358" y="6349249"/>
                </a:lnTo>
                <a:cubicBezTo>
                  <a:pt x="1362210" y="6349249"/>
                  <a:pt x="1370193" y="6339904"/>
                  <a:pt x="1370193" y="6329224"/>
                </a:cubicBezTo>
                <a:lnTo>
                  <a:pt x="1370193" y="6286949"/>
                </a:lnTo>
                <a:cubicBezTo>
                  <a:pt x="1370193" y="6273599"/>
                  <a:pt x="1362210" y="6265589"/>
                  <a:pt x="1349350" y="6265589"/>
                </a:cubicBezTo>
                <a:close/>
                <a:moveTo>
                  <a:pt x="1104991" y="6265589"/>
                </a:moveTo>
                <a:lnTo>
                  <a:pt x="1104991" y="6393304"/>
                </a:lnTo>
                <a:lnTo>
                  <a:pt x="1226061" y="6393304"/>
                </a:lnTo>
                <a:lnTo>
                  <a:pt x="1226061" y="6367939"/>
                </a:lnTo>
                <a:lnTo>
                  <a:pt x="1133817" y="6367939"/>
                </a:lnTo>
                <a:lnTo>
                  <a:pt x="1133817" y="6341239"/>
                </a:lnTo>
                <a:lnTo>
                  <a:pt x="1212757" y="6341239"/>
                </a:lnTo>
                <a:lnTo>
                  <a:pt x="1212757" y="6315874"/>
                </a:lnTo>
                <a:lnTo>
                  <a:pt x="1133817" y="6315874"/>
                </a:lnTo>
                <a:lnTo>
                  <a:pt x="1133817" y="6290509"/>
                </a:lnTo>
                <a:lnTo>
                  <a:pt x="1224731" y="6290509"/>
                </a:lnTo>
                <a:lnTo>
                  <a:pt x="1224731" y="6265589"/>
                </a:lnTo>
                <a:close/>
                <a:moveTo>
                  <a:pt x="995895" y="6265589"/>
                </a:moveTo>
                <a:lnTo>
                  <a:pt x="939573" y="6393304"/>
                </a:lnTo>
                <a:lnTo>
                  <a:pt x="972391" y="6393304"/>
                </a:lnTo>
                <a:lnTo>
                  <a:pt x="983034" y="6367939"/>
                </a:lnTo>
                <a:lnTo>
                  <a:pt x="1048669" y="6367939"/>
                </a:lnTo>
                <a:lnTo>
                  <a:pt x="1060643" y="6393304"/>
                </a:lnTo>
                <a:lnTo>
                  <a:pt x="1092130" y="6393304"/>
                </a:lnTo>
                <a:lnTo>
                  <a:pt x="1035365" y="6265589"/>
                </a:lnTo>
                <a:close/>
                <a:moveTo>
                  <a:pt x="778146" y="6265589"/>
                </a:moveTo>
                <a:lnTo>
                  <a:pt x="778146" y="6393304"/>
                </a:lnTo>
                <a:lnTo>
                  <a:pt x="805642" y="6393304"/>
                </a:lnTo>
                <a:lnTo>
                  <a:pt x="805642" y="6319879"/>
                </a:lnTo>
                <a:lnTo>
                  <a:pt x="838459" y="6393304"/>
                </a:lnTo>
                <a:lnTo>
                  <a:pt x="867286" y="6393304"/>
                </a:lnTo>
                <a:lnTo>
                  <a:pt x="900103" y="6318544"/>
                </a:lnTo>
                <a:lnTo>
                  <a:pt x="900103" y="6393304"/>
                </a:lnTo>
                <a:lnTo>
                  <a:pt x="927599" y="6393304"/>
                </a:lnTo>
                <a:lnTo>
                  <a:pt x="927599" y="6265589"/>
                </a:lnTo>
                <a:lnTo>
                  <a:pt x="894781" y="6265589"/>
                </a:lnTo>
                <a:lnTo>
                  <a:pt x="852651" y="6361264"/>
                </a:lnTo>
                <a:lnTo>
                  <a:pt x="810964" y="6265589"/>
                </a:lnTo>
                <a:close/>
                <a:moveTo>
                  <a:pt x="1414985" y="6265144"/>
                </a:moveTo>
                <a:cubicBezTo>
                  <a:pt x="1404785" y="6265144"/>
                  <a:pt x="1395471" y="6273154"/>
                  <a:pt x="1395471" y="6285169"/>
                </a:cubicBezTo>
                <a:lnTo>
                  <a:pt x="1395471" y="6322549"/>
                </a:lnTo>
                <a:cubicBezTo>
                  <a:pt x="1395471" y="6333229"/>
                  <a:pt x="1403011" y="6341239"/>
                  <a:pt x="1414985" y="6341239"/>
                </a:cubicBezTo>
                <a:lnTo>
                  <a:pt x="1485941" y="6341239"/>
                </a:lnTo>
                <a:lnTo>
                  <a:pt x="1485941" y="6367939"/>
                </a:lnTo>
                <a:lnTo>
                  <a:pt x="1424298" y="6367939"/>
                </a:lnTo>
                <a:lnTo>
                  <a:pt x="1424298" y="6358594"/>
                </a:lnTo>
                <a:lnTo>
                  <a:pt x="1394141" y="6358594"/>
                </a:lnTo>
                <a:lnTo>
                  <a:pt x="1394141" y="6374614"/>
                </a:lnTo>
                <a:cubicBezTo>
                  <a:pt x="1394141" y="6385294"/>
                  <a:pt x="1400350" y="6393304"/>
                  <a:pt x="1413654" y="6393304"/>
                </a:cubicBezTo>
                <a:lnTo>
                  <a:pt x="1424298" y="6393304"/>
                </a:lnTo>
                <a:lnTo>
                  <a:pt x="1495255" y="6393304"/>
                </a:lnTo>
                <a:cubicBezTo>
                  <a:pt x="1508115" y="6393304"/>
                  <a:pt x="1514768" y="6385294"/>
                  <a:pt x="1514768" y="6373279"/>
                </a:cubicBezTo>
                <a:lnTo>
                  <a:pt x="1514768" y="6337234"/>
                </a:lnTo>
                <a:cubicBezTo>
                  <a:pt x="1514768" y="6323884"/>
                  <a:pt x="1505898" y="6315874"/>
                  <a:pt x="1495255" y="6315874"/>
                </a:cubicBezTo>
                <a:lnTo>
                  <a:pt x="1424298" y="6315874"/>
                </a:lnTo>
                <a:lnTo>
                  <a:pt x="1424298" y="6290509"/>
                </a:lnTo>
                <a:lnTo>
                  <a:pt x="1485941" y="6290509"/>
                </a:lnTo>
                <a:lnTo>
                  <a:pt x="1485941" y="6301189"/>
                </a:lnTo>
                <a:lnTo>
                  <a:pt x="1514768" y="6301189"/>
                </a:lnTo>
                <a:lnTo>
                  <a:pt x="1514768" y="6286504"/>
                </a:lnTo>
                <a:cubicBezTo>
                  <a:pt x="1514768" y="6273154"/>
                  <a:pt x="1507229" y="6265144"/>
                  <a:pt x="1496585" y="6265144"/>
                </a:cubicBezTo>
                <a:close/>
                <a:moveTo>
                  <a:pt x="418040" y="6184154"/>
                </a:moveTo>
                <a:cubicBezTo>
                  <a:pt x="401188" y="6184154"/>
                  <a:pt x="386553" y="6198839"/>
                  <a:pt x="386553" y="6217529"/>
                </a:cubicBezTo>
                <a:lnTo>
                  <a:pt x="386553" y="6441363"/>
                </a:lnTo>
                <a:cubicBezTo>
                  <a:pt x="386553" y="6460053"/>
                  <a:pt x="401188" y="6474738"/>
                  <a:pt x="418040" y="6474738"/>
                </a:cubicBezTo>
                <a:lnTo>
                  <a:pt x="624259" y="6474738"/>
                </a:lnTo>
                <a:cubicBezTo>
                  <a:pt x="642441" y="6474738"/>
                  <a:pt x="657076" y="6460053"/>
                  <a:pt x="657076" y="6441363"/>
                </a:cubicBezTo>
                <a:cubicBezTo>
                  <a:pt x="657076" y="6441363"/>
                  <a:pt x="657076" y="6217529"/>
                  <a:pt x="657076" y="6217529"/>
                </a:cubicBezTo>
                <a:cubicBezTo>
                  <a:pt x="657076" y="6198839"/>
                  <a:pt x="642441" y="6184154"/>
                  <a:pt x="624259" y="6184154"/>
                </a:cubicBezTo>
                <a:close/>
                <a:moveTo>
                  <a:pt x="0" y="0"/>
                </a:moveTo>
                <a:lnTo>
                  <a:pt x="12193200" y="0"/>
                </a:lnTo>
                <a:lnTo>
                  <a:pt x="12193200" y="6861600"/>
                </a:lnTo>
                <a:lnTo>
                  <a:pt x="0" y="6861600"/>
                </a:lnTo>
                <a:close/>
              </a:path>
            </a:pathLst>
          </a:custGeom>
          <a:solidFill>
            <a:schemeClr val="accent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pic>
        <p:nvPicPr>
          <p:cNvPr id="37" name="Picture 29">
            <a:extLst>
              <a:ext uri="{FF2B5EF4-FFF2-40B4-BE49-F238E27FC236}">
                <a16:creationId xmlns:a16="http://schemas.microsoft.com/office/drawing/2014/main" id="{3EECEA3A-FE08-5230-0B56-A1C520DAD2E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6" y="6169025"/>
            <a:ext cx="1299395" cy="320399"/>
          </a:xfrm>
          <a:prstGeom prst="rect">
            <a:avLst/>
          </a:prstGeom>
        </p:spPr>
      </p:pic>
    </p:spTree>
    <p:extLst>
      <p:ext uri="{BB962C8B-B14F-4D97-AF65-F5344CB8AC3E}">
        <p14:creationId xmlns:p14="http://schemas.microsoft.com/office/powerpoint/2010/main" val="1160111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bleed image C">
    <p:bg>
      <p:bgPr>
        <a:solidFill>
          <a:schemeClr val="bg1"/>
        </a:solidFill>
        <a:effectLst/>
      </p:bgPr>
    </p:bg>
    <p:spTree>
      <p:nvGrpSpPr>
        <p:cNvPr id="1" name=""/>
        <p:cNvGrpSpPr/>
        <p:nvPr/>
      </p:nvGrpSpPr>
      <p:grpSpPr>
        <a:xfrm>
          <a:off x="0" y="0"/>
          <a:ext cx="0" cy="0"/>
          <a:chOff x="0" y="0"/>
          <a:chExt cx="0" cy="0"/>
        </a:xfrm>
      </p:grpSpPr>
      <p:pic>
        <p:nvPicPr>
          <p:cNvPr id="36" name="Picture 29">
            <a:extLst>
              <a:ext uri="{FF2B5EF4-FFF2-40B4-BE49-F238E27FC236}">
                <a16:creationId xmlns:a16="http://schemas.microsoft.com/office/drawing/2014/main" id="{846D00A4-5D58-7AF9-739F-350B9A83093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35" name="Picture Placeholder 34">
            <a:extLst>
              <a:ext uri="{FF2B5EF4-FFF2-40B4-BE49-F238E27FC236}">
                <a16:creationId xmlns:a16="http://schemas.microsoft.com/office/drawing/2014/main" id="{49332472-0F28-EA26-F771-1406E21325B7}"/>
              </a:ext>
            </a:extLst>
          </p:cNvPr>
          <p:cNvSpPr>
            <a:spLocks noGrp="1"/>
          </p:cNvSpPr>
          <p:nvPr>
            <p:ph type="pic" sz="quarter" idx="13" hasCustomPrompt="1"/>
          </p:nvPr>
        </p:nvSpPr>
        <p:spPr>
          <a:xfrm>
            <a:off x="0" y="0"/>
            <a:ext cx="12193200" cy="6861600"/>
          </a:xfrm>
          <a:custGeom>
            <a:avLst/>
            <a:gdLst>
              <a:gd name="connsiteX0" fmla="*/ 1278393 w 12193200"/>
              <a:gd name="connsiteY0" fmla="*/ 6290509 h 6861600"/>
              <a:gd name="connsiteX1" fmla="*/ 1341367 w 12193200"/>
              <a:gd name="connsiteY1" fmla="*/ 6290509 h 6861600"/>
              <a:gd name="connsiteX2" fmla="*/ 1341367 w 12193200"/>
              <a:gd name="connsiteY2" fmla="*/ 6323884 h 6861600"/>
              <a:gd name="connsiteX3" fmla="*/ 1278393 w 12193200"/>
              <a:gd name="connsiteY3" fmla="*/ 6323884 h 6861600"/>
              <a:gd name="connsiteX4" fmla="*/ 1015852 w 12193200"/>
              <a:gd name="connsiteY4" fmla="*/ 6289174 h 6861600"/>
              <a:gd name="connsiteX5" fmla="*/ 1038026 w 12193200"/>
              <a:gd name="connsiteY5" fmla="*/ 6343909 h 6861600"/>
              <a:gd name="connsiteX6" fmla="*/ 993678 w 12193200"/>
              <a:gd name="connsiteY6" fmla="*/ 6343909 h 6861600"/>
              <a:gd name="connsiteX7" fmla="*/ 1542263 w 12193200"/>
              <a:gd name="connsiteY7" fmla="*/ 6265589 h 6861600"/>
              <a:gd name="connsiteX8" fmla="*/ 1542263 w 12193200"/>
              <a:gd name="connsiteY8" fmla="*/ 6393304 h 6861600"/>
              <a:gd name="connsiteX9" fmla="*/ 1572863 w 12193200"/>
              <a:gd name="connsiteY9" fmla="*/ 6393304 h 6861600"/>
              <a:gd name="connsiteX10" fmla="*/ 1572863 w 12193200"/>
              <a:gd name="connsiteY10" fmla="*/ 6334564 h 6861600"/>
              <a:gd name="connsiteX11" fmla="*/ 1630516 w 12193200"/>
              <a:gd name="connsiteY11" fmla="*/ 6393304 h 6861600"/>
              <a:gd name="connsiteX12" fmla="*/ 1672646 w 12193200"/>
              <a:gd name="connsiteY12" fmla="*/ 6393304 h 6861600"/>
              <a:gd name="connsiteX13" fmla="*/ 1603020 w 12193200"/>
              <a:gd name="connsiteY13" fmla="*/ 6325219 h 6861600"/>
              <a:gd name="connsiteX14" fmla="*/ 1669985 w 12193200"/>
              <a:gd name="connsiteY14" fmla="*/ 6265589 h 6861600"/>
              <a:gd name="connsiteX15" fmla="*/ 1629185 w 12193200"/>
              <a:gd name="connsiteY15" fmla="*/ 6265589 h 6861600"/>
              <a:gd name="connsiteX16" fmla="*/ 1572863 w 12193200"/>
              <a:gd name="connsiteY16" fmla="*/ 6317209 h 6861600"/>
              <a:gd name="connsiteX17" fmla="*/ 1572863 w 12193200"/>
              <a:gd name="connsiteY17" fmla="*/ 6265589 h 6861600"/>
              <a:gd name="connsiteX18" fmla="*/ 1248236 w 12193200"/>
              <a:gd name="connsiteY18" fmla="*/ 6265589 h 6861600"/>
              <a:gd name="connsiteX19" fmla="*/ 1248236 w 12193200"/>
              <a:gd name="connsiteY19" fmla="*/ 6393304 h 6861600"/>
              <a:gd name="connsiteX20" fmla="*/ 1278393 w 12193200"/>
              <a:gd name="connsiteY20" fmla="*/ 6393304 h 6861600"/>
              <a:gd name="connsiteX21" fmla="*/ 1278393 w 12193200"/>
              <a:gd name="connsiteY21" fmla="*/ 6349249 h 6861600"/>
              <a:gd name="connsiteX22" fmla="*/ 1311210 w 12193200"/>
              <a:gd name="connsiteY22" fmla="*/ 6349249 h 6861600"/>
              <a:gd name="connsiteX23" fmla="*/ 1338706 w 12193200"/>
              <a:gd name="connsiteY23" fmla="*/ 6393304 h 6861600"/>
              <a:gd name="connsiteX24" fmla="*/ 1371524 w 12193200"/>
              <a:gd name="connsiteY24" fmla="*/ 6393304 h 6861600"/>
              <a:gd name="connsiteX25" fmla="*/ 1342697 w 12193200"/>
              <a:gd name="connsiteY25" fmla="*/ 6349249 h 6861600"/>
              <a:gd name="connsiteX26" fmla="*/ 1345358 w 12193200"/>
              <a:gd name="connsiteY26" fmla="*/ 6349249 h 6861600"/>
              <a:gd name="connsiteX27" fmla="*/ 1370193 w 12193200"/>
              <a:gd name="connsiteY27" fmla="*/ 6329224 h 6861600"/>
              <a:gd name="connsiteX28" fmla="*/ 1370193 w 12193200"/>
              <a:gd name="connsiteY28" fmla="*/ 6286949 h 6861600"/>
              <a:gd name="connsiteX29" fmla="*/ 1349350 w 12193200"/>
              <a:gd name="connsiteY29" fmla="*/ 6265589 h 6861600"/>
              <a:gd name="connsiteX30" fmla="*/ 1104991 w 12193200"/>
              <a:gd name="connsiteY30" fmla="*/ 6265589 h 6861600"/>
              <a:gd name="connsiteX31" fmla="*/ 1104991 w 12193200"/>
              <a:gd name="connsiteY31" fmla="*/ 6393304 h 6861600"/>
              <a:gd name="connsiteX32" fmla="*/ 1226061 w 12193200"/>
              <a:gd name="connsiteY32" fmla="*/ 6393304 h 6861600"/>
              <a:gd name="connsiteX33" fmla="*/ 1226061 w 12193200"/>
              <a:gd name="connsiteY33" fmla="*/ 6367939 h 6861600"/>
              <a:gd name="connsiteX34" fmla="*/ 1133817 w 12193200"/>
              <a:gd name="connsiteY34" fmla="*/ 6367939 h 6861600"/>
              <a:gd name="connsiteX35" fmla="*/ 1133817 w 12193200"/>
              <a:gd name="connsiteY35" fmla="*/ 6341239 h 6861600"/>
              <a:gd name="connsiteX36" fmla="*/ 1212757 w 12193200"/>
              <a:gd name="connsiteY36" fmla="*/ 6341239 h 6861600"/>
              <a:gd name="connsiteX37" fmla="*/ 1212757 w 12193200"/>
              <a:gd name="connsiteY37" fmla="*/ 6315874 h 6861600"/>
              <a:gd name="connsiteX38" fmla="*/ 1133817 w 12193200"/>
              <a:gd name="connsiteY38" fmla="*/ 6315874 h 6861600"/>
              <a:gd name="connsiteX39" fmla="*/ 1133817 w 12193200"/>
              <a:gd name="connsiteY39" fmla="*/ 6290509 h 6861600"/>
              <a:gd name="connsiteX40" fmla="*/ 1224731 w 12193200"/>
              <a:gd name="connsiteY40" fmla="*/ 6290509 h 6861600"/>
              <a:gd name="connsiteX41" fmla="*/ 1224731 w 12193200"/>
              <a:gd name="connsiteY41" fmla="*/ 6265589 h 6861600"/>
              <a:gd name="connsiteX42" fmla="*/ 995895 w 12193200"/>
              <a:gd name="connsiteY42" fmla="*/ 6265589 h 6861600"/>
              <a:gd name="connsiteX43" fmla="*/ 939573 w 12193200"/>
              <a:gd name="connsiteY43" fmla="*/ 6393304 h 6861600"/>
              <a:gd name="connsiteX44" fmla="*/ 972391 w 12193200"/>
              <a:gd name="connsiteY44" fmla="*/ 6393304 h 6861600"/>
              <a:gd name="connsiteX45" fmla="*/ 983034 w 12193200"/>
              <a:gd name="connsiteY45" fmla="*/ 6367939 h 6861600"/>
              <a:gd name="connsiteX46" fmla="*/ 1048669 w 12193200"/>
              <a:gd name="connsiteY46" fmla="*/ 6367939 h 6861600"/>
              <a:gd name="connsiteX47" fmla="*/ 1060643 w 12193200"/>
              <a:gd name="connsiteY47" fmla="*/ 6393304 h 6861600"/>
              <a:gd name="connsiteX48" fmla="*/ 1092130 w 12193200"/>
              <a:gd name="connsiteY48" fmla="*/ 6393304 h 6861600"/>
              <a:gd name="connsiteX49" fmla="*/ 1035365 w 12193200"/>
              <a:gd name="connsiteY49" fmla="*/ 6265589 h 6861600"/>
              <a:gd name="connsiteX50" fmla="*/ 778146 w 12193200"/>
              <a:gd name="connsiteY50" fmla="*/ 6265589 h 6861600"/>
              <a:gd name="connsiteX51" fmla="*/ 778146 w 12193200"/>
              <a:gd name="connsiteY51" fmla="*/ 6393304 h 6861600"/>
              <a:gd name="connsiteX52" fmla="*/ 805642 w 12193200"/>
              <a:gd name="connsiteY52" fmla="*/ 6393304 h 6861600"/>
              <a:gd name="connsiteX53" fmla="*/ 805642 w 12193200"/>
              <a:gd name="connsiteY53" fmla="*/ 6319879 h 6861600"/>
              <a:gd name="connsiteX54" fmla="*/ 838459 w 12193200"/>
              <a:gd name="connsiteY54" fmla="*/ 6393304 h 6861600"/>
              <a:gd name="connsiteX55" fmla="*/ 867286 w 12193200"/>
              <a:gd name="connsiteY55" fmla="*/ 6393304 h 6861600"/>
              <a:gd name="connsiteX56" fmla="*/ 900103 w 12193200"/>
              <a:gd name="connsiteY56" fmla="*/ 6318544 h 6861600"/>
              <a:gd name="connsiteX57" fmla="*/ 900103 w 12193200"/>
              <a:gd name="connsiteY57" fmla="*/ 6393304 h 6861600"/>
              <a:gd name="connsiteX58" fmla="*/ 927599 w 12193200"/>
              <a:gd name="connsiteY58" fmla="*/ 6393304 h 6861600"/>
              <a:gd name="connsiteX59" fmla="*/ 927599 w 12193200"/>
              <a:gd name="connsiteY59" fmla="*/ 6265589 h 6861600"/>
              <a:gd name="connsiteX60" fmla="*/ 894781 w 12193200"/>
              <a:gd name="connsiteY60" fmla="*/ 6265589 h 6861600"/>
              <a:gd name="connsiteX61" fmla="*/ 852651 w 12193200"/>
              <a:gd name="connsiteY61" fmla="*/ 6361264 h 6861600"/>
              <a:gd name="connsiteX62" fmla="*/ 810964 w 12193200"/>
              <a:gd name="connsiteY62" fmla="*/ 6265589 h 6861600"/>
              <a:gd name="connsiteX63" fmla="*/ 1414985 w 12193200"/>
              <a:gd name="connsiteY63" fmla="*/ 6265144 h 6861600"/>
              <a:gd name="connsiteX64" fmla="*/ 1395471 w 12193200"/>
              <a:gd name="connsiteY64" fmla="*/ 6285169 h 6861600"/>
              <a:gd name="connsiteX65" fmla="*/ 1395471 w 12193200"/>
              <a:gd name="connsiteY65" fmla="*/ 6322549 h 6861600"/>
              <a:gd name="connsiteX66" fmla="*/ 1414985 w 12193200"/>
              <a:gd name="connsiteY66" fmla="*/ 6341239 h 6861600"/>
              <a:gd name="connsiteX67" fmla="*/ 1485941 w 12193200"/>
              <a:gd name="connsiteY67" fmla="*/ 6341239 h 6861600"/>
              <a:gd name="connsiteX68" fmla="*/ 1485941 w 12193200"/>
              <a:gd name="connsiteY68" fmla="*/ 6367939 h 6861600"/>
              <a:gd name="connsiteX69" fmla="*/ 1424298 w 12193200"/>
              <a:gd name="connsiteY69" fmla="*/ 6367939 h 6861600"/>
              <a:gd name="connsiteX70" fmla="*/ 1424298 w 12193200"/>
              <a:gd name="connsiteY70" fmla="*/ 6358594 h 6861600"/>
              <a:gd name="connsiteX71" fmla="*/ 1394141 w 12193200"/>
              <a:gd name="connsiteY71" fmla="*/ 6358594 h 6861600"/>
              <a:gd name="connsiteX72" fmla="*/ 1394141 w 12193200"/>
              <a:gd name="connsiteY72" fmla="*/ 6374614 h 6861600"/>
              <a:gd name="connsiteX73" fmla="*/ 1413654 w 12193200"/>
              <a:gd name="connsiteY73" fmla="*/ 6393304 h 6861600"/>
              <a:gd name="connsiteX74" fmla="*/ 1424298 w 12193200"/>
              <a:gd name="connsiteY74" fmla="*/ 6393304 h 6861600"/>
              <a:gd name="connsiteX75" fmla="*/ 1495255 w 12193200"/>
              <a:gd name="connsiteY75" fmla="*/ 6393304 h 6861600"/>
              <a:gd name="connsiteX76" fmla="*/ 1514768 w 12193200"/>
              <a:gd name="connsiteY76" fmla="*/ 6373279 h 6861600"/>
              <a:gd name="connsiteX77" fmla="*/ 1514768 w 12193200"/>
              <a:gd name="connsiteY77" fmla="*/ 6337234 h 6861600"/>
              <a:gd name="connsiteX78" fmla="*/ 1495255 w 12193200"/>
              <a:gd name="connsiteY78" fmla="*/ 6315874 h 6861600"/>
              <a:gd name="connsiteX79" fmla="*/ 1424298 w 12193200"/>
              <a:gd name="connsiteY79" fmla="*/ 6315874 h 6861600"/>
              <a:gd name="connsiteX80" fmla="*/ 1424298 w 12193200"/>
              <a:gd name="connsiteY80" fmla="*/ 6290509 h 6861600"/>
              <a:gd name="connsiteX81" fmla="*/ 1485941 w 12193200"/>
              <a:gd name="connsiteY81" fmla="*/ 6290509 h 6861600"/>
              <a:gd name="connsiteX82" fmla="*/ 1485941 w 12193200"/>
              <a:gd name="connsiteY82" fmla="*/ 6301189 h 6861600"/>
              <a:gd name="connsiteX83" fmla="*/ 1514768 w 12193200"/>
              <a:gd name="connsiteY83" fmla="*/ 6301189 h 6861600"/>
              <a:gd name="connsiteX84" fmla="*/ 1514768 w 12193200"/>
              <a:gd name="connsiteY84" fmla="*/ 6286504 h 6861600"/>
              <a:gd name="connsiteX85" fmla="*/ 1496585 w 12193200"/>
              <a:gd name="connsiteY85" fmla="*/ 6265144 h 6861600"/>
              <a:gd name="connsiteX86" fmla="*/ 418040 w 12193200"/>
              <a:gd name="connsiteY86" fmla="*/ 6184154 h 6861600"/>
              <a:gd name="connsiteX87" fmla="*/ 386553 w 12193200"/>
              <a:gd name="connsiteY87" fmla="*/ 6217529 h 6861600"/>
              <a:gd name="connsiteX88" fmla="*/ 386553 w 12193200"/>
              <a:gd name="connsiteY88" fmla="*/ 6441363 h 6861600"/>
              <a:gd name="connsiteX89" fmla="*/ 418040 w 12193200"/>
              <a:gd name="connsiteY89" fmla="*/ 6474738 h 6861600"/>
              <a:gd name="connsiteX90" fmla="*/ 624259 w 12193200"/>
              <a:gd name="connsiteY90" fmla="*/ 6474738 h 6861600"/>
              <a:gd name="connsiteX91" fmla="*/ 657076 w 12193200"/>
              <a:gd name="connsiteY91" fmla="*/ 6441363 h 6861600"/>
              <a:gd name="connsiteX92" fmla="*/ 657076 w 12193200"/>
              <a:gd name="connsiteY92" fmla="*/ 6217529 h 6861600"/>
              <a:gd name="connsiteX93" fmla="*/ 624259 w 12193200"/>
              <a:gd name="connsiteY93" fmla="*/ 6184154 h 6861600"/>
              <a:gd name="connsiteX94" fmla="*/ 0 w 12193200"/>
              <a:gd name="connsiteY94" fmla="*/ 0 h 6861600"/>
              <a:gd name="connsiteX95" fmla="*/ 12193200 w 12193200"/>
              <a:gd name="connsiteY95" fmla="*/ 0 h 6861600"/>
              <a:gd name="connsiteX96" fmla="*/ 12193200 w 12193200"/>
              <a:gd name="connsiteY96" fmla="*/ 6861600 h 6861600"/>
              <a:gd name="connsiteX97" fmla="*/ 0 w 12193200"/>
              <a:gd name="connsiteY9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3200" h="6861600">
                <a:moveTo>
                  <a:pt x="1278393" y="6290509"/>
                </a:moveTo>
                <a:lnTo>
                  <a:pt x="1341367" y="6290509"/>
                </a:lnTo>
                <a:lnTo>
                  <a:pt x="1341367" y="6323884"/>
                </a:lnTo>
                <a:lnTo>
                  <a:pt x="1278393" y="6323884"/>
                </a:lnTo>
                <a:close/>
                <a:moveTo>
                  <a:pt x="1015852" y="6289174"/>
                </a:moveTo>
                <a:lnTo>
                  <a:pt x="1038026" y="6343909"/>
                </a:lnTo>
                <a:lnTo>
                  <a:pt x="993678" y="6343909"/>
                </a:lnTo>
                <a:close/>
                <a:moveTo>
                  <a:pt x="1542263" y="6265589"/>
                </a:moveTo>
                <a:lnTo>
                  <a:pt x="1542263" y="6393304"/>
                </a:lnTo>
                <a:lnTo>
                  <a:pt x="1572863" y="6393304"/>
                </a:lnTo>
                <a:lnTo>
                  <a:pt x="1572863" y="6334564"/>
                </a:lnTo>
                <a:lnTo>
                  <a:pt x="1630516" y="6393304"/>
                </a:lnTo>
                <a:lnTo>
                  <a:pt x="1672646" y="6393304"/>
                </a:lnTo>
                <a:lnTo>
                  <a:pt x="1603020" y="6325219"/>
                </a:lnTo>
                <a:lnTo>
                  <a:pt x="1669985" y="6265589"/>
                </a:lnTo>
                <a:lnTo>
                  <a:pt x="1629185" y="6265589"/>
                </a:lnTo>
                <a:lnTo>
                  <a:pt x="1572863" y="6317209"/>
                </a:lnTo>
                <a:lnTo>
                  <a:pt x="1572863" y="6265589"/>
                </a:lnTo>
                <a:close/>
                <a:moveTo>
                  <a:pt x="1248236" y="6265589"/>
                </a:moveTo>
                <a:lnTo>
                  <a:pt x="1248236" y="6393304"/>
                </a:lnTo>
                <a:lnTo>
                  <a:pt x="1278393" y="6393304"/>
                </a:lnTo>
                <a:lnTo>
                  <a:pt x="1278393" y="6349249"/>
                </a:lnTo>
                <a:lnTo>
                  <a:pt x="1311210" y="6349249"/>
                </a:lnTo>
                <a:lnTo>
                  <a:pt x="1338706" y="6393304"/>
                </a:lnTo>
                <a:lnTo>
                  <a:pt x="1371524" y="6393304"/>
                </a:lnTo>
                <a:lnTo>
                  <a:pt x="1342697" y="6349249"/>
                </a:lnTo>
                <a:lnTo>
                  <a:pt x="1345358" y="6349249"/>
                </a:lnTo>
                <a:cubicBezTo>
                  <a:pt x="1362210" y="6349249"/>
                  <a:pt x="1370193" y="6339904"/>
                  <a:pt x="1370193" y="6329224"/>
                </a:cubicBezTo>
                <a:lnTo>
                  <a:pt x="1370193" y="6286949"/>
                </a:lnTo>
                <a:cubicBezTo>
                  <a:pt x="1370193" y="6273599"/>
                  <a:pt x="1362210" y="6265589"/>
                  <a:pt x="1349350" y="6265589"/>
                </a:cubicBezTo>
                <a:close/>
                <a:moveTo>
                  <a:pt x="1104991" y="6265589"/>
                </a:moveTo>
                <a:lnTo>
                  <a:pt x="1104991" y="6393304"/>
                </a:lnTo>
                <a:lnTo>
                  <a:pt x="1226061" y="6393304"/>
                </a:lnTo>
                <a:lnTo>
                  <a:pt x="1226061" y="6367939"/>
                </a:lnTo>
                <a:lnTo>
                  <a:pt x="1133817" y="6367939"/>
                </a:lnTo>
                <a:lnTo>
                  <a:pt x="1133817" y="6341239"/>
                </a:lnTo>
                <a:lnTo>
                  <a:pt x="1212757" y="6341239"/>
                </a:lnTo>
                <a:lnTo>
                  <a:pt x="1212757" y="6315874"/>
                </a:lnTo>
                <a:lnTo>
                  <a:pt x="1133817" y="6315874"/>
                </a:lnTo>
                <a:lnTo>
                  <a:pt x="1133817" y="6290509"/>
                </a:lnTo>
                <a:lnTo>
                  <a:pt x="1224731" y="6290509"/>
                </a:lnTo>
                <a:lnTo>
                  <a:pt x="1224731" y="6265589"/>
                </a:lnTo>
                <a:close/>
                <a:moveTo>
                  <a:pt x="995895" y="6265589"/>
                </a:moveTo>
                <a:lnTo>
                  <a:pt x="939573" y="6393304"/>
                </a:lnTo>
                <a:lnTo>
                  <a:pt x="972391" y="6393304"/>
                </a:lnTo>
                <a:lnTo>
                  <a:pt x="983034" y="6367939"/>
                </a:lnTo>
                <a:lnTo>
                  <a:pt x="1048669" y="6367939"/>
                </a:lnTo>
                <a:lnTo>
                  <a:pt x="1060643" y="6393304"/>
                </a:lnTo>
                <a:lnTo>
                  <a:pt x="1092130" y="6393304"/>
                </a:lnTo>
                <a:lnTo>
                  <a:pt x="1035365" y="6265589"/>
                </a:lnTo>
                <a:close/>
                <a:moveTo>
                  <a:pt x="778146" y="6265589"/>
                </a:moveTo>
                <a:lnTo>
                  <a:pt x="778146" y="6393304"/>
                </a:lnTo>
                <a:lnTo>
                  <a:pt x="805642" y="6393304"/>
                </a:lnTo>
                <a:lnTo>
                  <a:pt x="805642" y="6319879"/>
                </a:lnTo>
                <a:lnTo>
                  <a:pt x="838459" y="6393304"/>
                </a:lnTo>
                <a:lnTo>
                  <a:pt x="867286" y="6393304"/>
                </a:lnTo>
                <a:lnTo>
                  <a:pt x="900103" y="6318544"/>
                </a:lnTo>
                <a:lnTo>
                  <a:pt x="900103" y="6393304"/>
                </a:lnTo>
                <a:lnTo>
                  <a:pt x="927599" y="6393304"/>
                </a:lnTo>
                <a:lnTo>
                  <a:pt x="927599" y="6265589"/>
                </a:lnTo>
                <a:lnTo>
                  <a:pt x="894781" y="6265589"/>
                </a:lnTo>
                <a:lnTo>
                  <a:pt x="852651" y="6361264"/>
                </a:lnTo>
                <a:lnTo>
                  <a:pt x="810964" y="6265589"/>
                </a:lnTo>
                <a:close/>
                <a:moveTo>
                  <a:pt x="1414985" y="6265144"/>
                </a:moveTo>
                <a:cubicBezTo>
                  <a:pt x="1404785" y="6265144"/>
                  <a:pt x="1395471" y="6273154"/>
                  <a:pt x="1395471" y="6285169"/>
                </a:cubicBezTo>
                <a:lnTo>
                  <a:pt x="1395471" y="6322549"/>
                </a:lnTo>
                <a:cubicBezTo>
                  <a:pt x="1395471" y="6333229"/>
                  <a:pt x="1403011" y="6341239"/>
                  <a:pt x="1414985" y="6341239"/>
                </a:cubicBezTo>
                <a:lnTo>
                  <a:pt x="1485941" y="6341239"/>
                </a:lnTo>
                <a:lnTo>
                  <a:pt x="1485941" y="6367939"/>
                </a:lnTo>
                <a:lnTo>
                  <a:pt x="1424298" y="6367939"/>
                </a:lnTo>
                <a:lnTo>
                  <a:pt x="1424298" y="6358594"/>
                </a:lnTo>
                <a:lnTo>
                  <a:pt x="1394141" y="6358594"/>
                </a:lnTo>
                <a:lnTo>
                  <a:pt x="1394141" y="6374614"/>
                </a:lnTo>
                <a:cubicBezTo>
                  <a:pt x="1394141" y="6385294"/>
                  <a:pt x="1400350" y="6393304"/>
                  <a:pt x="1413654" y="6393304"/>
                </a:cubicBezTo>
                <a:lnTo>
                  <a:pt x="1424298" y="6393304"/>
                </a:lnTo>
                <a:lnTo>
                  <a:pt x="1495255" y="6393304"/>
                </a:lnTo>
                <a:cubicBezTo>
                  <a:pt x="1508115" y="6393304"/>
                  <a:pt x="1514768" y="6385294"/>
                  <a:pt x="1514768" y="6373279"/>
                </a:cubicBezTo>
                <a:lnTo>
                  <a:pt x="1514768" y="6337234"/>
                </a:lnTo>
                <a:cubicBezTo>
                  <a:pt x="1514768" y="6323884"/>
                  <a:pt x="1505898" y="6315874"/>
                  <a:pt x="1495255" y="6315874"/>
                </a:cubicBezTo>
                <a:lnTo>
                  <a:pt x="1424298" y="6315874"/>
                </a:lnTo>
                <a:lnTo>
                  <a:pt x="1424298" y="6290509"/>
                </a:lnTo>
                <a:lnTo>
                  <a:pt x="1485941" y="6290509"/>
                </a:lnTo>
                <a:lnTo>
                  <a:pt x="1485941" y="6301189"/>
                </a:lnTo>
                <a:lnTo>
                  <a:pt x="1514768" y="6301189"/>
                </a:lnTo>
                <a:lnTo>
                  <a:pt x="1514768" y="6286504"/>
                </a:lnTo>
                <a:cubicBezTo>
                  <a:pt x="1514768" y="6273154"/>
                  <a:pt x="1507229" y="6265144"/>
                  <a:pt x="1496585" y="6265144"/>
                </a:cubicBezTo>
                <a:close/>
                <a:moveTo>
                  <a:pt x="418040" y="6184154"/>
                </a:moveTo>
                <a:cubicBezTo>
                  <a:pt x="401188" y="6184154"/>
                  <a:pt x="386553" y="6198839"/>
                  <a:pt x="386553" y="6217529"/>
                </a:cubicBezTo>
                <a:lnTo>
                  <a:pt x="386553" y="6441363"/>
                </a:lnTo>
                <a:cubicBezTo>
                  <a:pt x="386553" y="6460053"/>
                  <a:pt x="401188" y="6474738"/>
                  <a:pt x="418040" y="6474738"/>
                </a:cubicBezTo>
                <a:lnTo>
                  <a:pt x="624259" y="6474738"/>
                </a:lnTo>
                <a:cubicBezTo>
                  <a:pt x="642441" y="6474738"/>
                  <a:pt x="657076" y="6460053"/>
                  <a:pt x="657076" y="6441363"/>
                </a:cubicBezTo>
                <a:cubicBezTo>
                  <a:pt x="657076" y="6441363"/>
                  <a:pt x="657076" y="6217529"/>
                  <a:pt x="657076" y="6217529"/>
                </a:cubicBezTo>
                <a:cubicBezTo>
                  <a:pt x="657076" y="6198839"/>
                  <a:pt x="642441" y="6184154"/>
                  <a:pt x="624259" y="6184154"/>
                </a:cubicBezTo>
                <a:close/>
                <a:moveTo>
                  <a:pt x="0" y="0"/>
                </a:moveTo>
                <a:lnTo>
                  <a:pt x="12193200" y="0"/>
                </a:lnTo>
                <a:lnTo>
                  <a:pt x="12193200" y="6861600"/>
                </a:lnTo>
                <a:lnTo>
                  <a:pt x="0" y="6861600"/>
                </a:lnTo>
                <a:close/>
              </a:path>
            </a:pathLst>
          </a:custGeom>
          <a:solidFill>
            <a:schemeClr val="bg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3" name="Title 1">
            <a:extLst>
              <a:ext uri="{FF2B5EF4-FFF2-40B4-BE49-F238E27FC236}">
                <a16:creationId xmlns:a16="http://schemas.microsoft.com/office/drawing/2014/main" id="{FF127482-2C9F-A700-BD57-7C8E383A1CCB}"/>
              </a:ext>
            </a:extLst>
          </p:cNvPr>
          <p:cNvSpPr>
            <a:spLocks noGrp="1"/>
          </p:cNvSpPr>
          <p:nvPr>
            <p:ph type="ctrTitle" hasCustomPrompt="1"/>
          </p:nvPr>
        </p:nvSpPr>
        <p:spPr>
          <a:xfrm>
            <a:off x="371475" y="2732088"/>
            <a:ext cx="5602288" cy="1816100"/>
          </a:xfrm>
        </p:spPr>
        <p:txBody>
          <a:bodyPr anchor="t"/>
          <a:lstStyle>
            <a:lvl1pPr algn="l">
              <a:defRPr sz="4000">
                <a:solidFill>
                  <a:schemeClr val="tx1"/>
                </a:solidFill>
              </a:defRPr>
            </a:lvl1pPr>
          </a:lstStyle>
          <a:p>
            <a:r>
              <a:rPr lang="en-GB" dirty="0"/>
              <a:t>Click to add title</a:t>
            </a:r>
          </a:p>
        </p:txBody>
      </p:sp>
    </p:spTree>
    <p:extLst>
      <p:ext uri="{BB962C8B-B14F-4D97-AF65-F5344CB8AC3E}">
        <p14:creationId xmlns:p14="http://schemas.microsoft.com/office/powerpoint/2010/main" val="19588141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bleed image D">
    <p:bg>
      <p:bgPr>
        <a:solidFill>
          <a:schemeClr val="accent1"/>
        </a:solidFill>
        <a:effectLst/>
      </p:bgPr>
    </p:bg>
    <p:spTree>
      <p:nvGrpSpPr>
        <p:cNvPr id="1" name=""/>
        <p:cNvGrpSpPr/>
        <p:nvPr/>
      </p:nvGrpSpPr>
      <p:grpSpPr>
        <a:xfrm>
          <a:off x="0" y="0"/>
          <a:ext cx="0" cy="0"/>
          <a:chOff x="0" y="0"/>
          <a:chExt cx="0" cy="0"/>
        </a:xfrm>
      </p:grpSpPr>
      <p:pic>
        <p:nvPicPr>
          <p:cNvPr id="36" name="Picture 29">
            <a:extLst>
              <a:ext uri="{FF2B5EF4-FFF2-40B4-BE49-F238E27FC236}">
                <a16:creationId xmlns:a16="http://schemas.microsoft.com/office/drawing/2014/main" id="{93463033-2BA7-8B6D-E344-6BC41ADCAF5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5850"/>
            <a:ext cx="1299398" cy="320400"/>
          </a:xfrm>
          <a:prstGeom prst="rect">
            <a:avLst/>
          </a:prstGeom>
        </p:spPr>
      </p:pic>
      <p:sp>
        <p:nvSpPr>
          <p:cNvPr id="34" name="Picture Placeholder 33">
            <a:extLst>
              <a:ext uri="{FF2B5EF4-FFF2-40B4-BE49-F238E27FC236}">
                <a16:creationId xmlns:a16="http://schemas.microsoft.com/office/drawing/2014/main" id="{9DBF40FC-CB42-D9BB-1080-C75078CBEAB8}"/>
              </a:ext>
            </a:extLst>
          </p:cNvPr>
          <p:cNvSpPr>
            <a:spLocks noGrp="1"/>
          </p:cNvSpPr>
          <p:nvPr>
            <p:ph type="pic" sz="quarter" idx="13" hasCustomPrompt="1"/>
          </p:nvPr>
        </p:nvSpPr>
        <p:spPr>
          <a:xfrm>
            <a:off x="0" y="0"/>
            <a:ext cx="12193200" cy="6861600"/>
          </a:xfrm>
          <a:custGeom>
            <a:avLst/>
            <a:gdLst>
              <a:gd name="connsiteX0" fmla="*/ 657189 w 12193200"/>
              <a:gd name="connsiteY0" fmla="*/ 6441263 h 6861600"/>
              <a:gd name="connsiteX1" fmla="*/ 657189 w 12193200"/>
              <a:gd name="connsiteY1" fmla="*/ 6441264 h 6861600"/>
              <a:gd name="connsiteX2" fmla="*/ 624342 w 12193200"/>
              <a:gd name="connsiteY2" fmla="*/ 6474551 h 6861600"/>
              <a:gd name="connsiteX3" fmla="*/ 624340 w 12193200"/>
              <a:gd name="connsiteY3" fmla="*/ 6474551 h 6861600"/>
              <a:gd name="connsiteX4" fmla="*/ 657189 w 12193200"/>
              <a:gd name="connsiteY4" fmla="*/ 6441263 h 6861600"/>
              <a:gd name="connsiteX5" fmla="*/ 386560 w 12193200"/>
              <a:gd name="connsiteY5" fmla="*/ 6441263 h 6861600"/>
              <a:gd name="connsiteX6" fmla="*/ 389769 w 12193200"/>
              <a:gd name="connsiteY6" fmla="*/ 6449342 h 6861600"/>
              <a:gd name="connsiteX7" fmla="*/ 386560 w 12193200"/>
              <a:gd name="connsiteY7" fmla="*/ 6441264 h 6861600"/>
              <a:gd name="connsiteX8" fmla="*/ 1278445 w 12193200"/>
              <a:gd name="connsiteY8" fmla="*/ 6290703 h 6861600"/>
              <a:gd name="connsiteX9" fmla="*/ 1341508 w 12193200"/>
              <a:gd name="connsiteY9" fmla="*/ 6290703 h 6861600"/>
              <a:gd name="connsiteX10" fmla="*/ 1341508 w 12193200"/>
              <a:gd name="connsiteY10" fmla="*/ 6323993 h 6861600"/>
              <a:gd name="connsiteX11" fmla="*/ 1278445 w 12193200"/>
              <a:gd name="connsiteY11" fmla="*/ 6323993 h 6861600"/>
              <a:gd name="connsiteX12" fmla="*/ 1015767 w 12193200"/>
              <a:gd name="connsiteY12" fmla="*/ 6289390 h 6861600"/>
              <a:gd name="connsiteX13" fmla="*/ 1038029 w 12193200"/>
              <a:gd name="connsiteY13" fmla="*/ 6344031 h 6861600"/>
              <a:gd name="connsiteX14" fmla="*/ 993415 w 12193200"/>
              <a:gd name="connsiteY14" fmla="*/ 6344031 h 6861600"/>
              <a:gd name="connsiteX15" fmla="*/ 1542399 w 12193200"/>
              <a:gd name="connsiteY15" fmla="*/ 6265409 h 6861600"/>
              <a:gd name="connsiteX16" fmla="*/ 1542399 w 12193200"/>
              <a:gd name="connsiteY16" fmla="*/ 6393302 h 6861600"/>
              <a:gd name="connsiteX17" fmla="*/ 1572649 w 12193200"/>
              <a:gd name="connsiteY17" fmla="*/ 6393302 h 6861600"/>
              <a:gd name="connsiteX18" fmla="*/ 1572649 w 12193200"/>
              <a:gd name="connsiteY18" fmla="*/ 6334722 h 6861600"/>
              <a:gd name="connsiteX19" fmla="*/ 1630474 w 12193200"/>
              <a:gd name="connsiteY19" fmla="*/ 6393302 h 6861600"/>
              <a:gd name="connsiteX20" fmla="*/ 1672471 w 12193200"/>
              <a:gd name="connsiteY20" fmla="*/ 6393302 h 6861600"/>
              <a:gd name="connsiteX21" fmla="*/ 1602845 w 12193200"/>
              <a:gd name="connsiteY21" fmla="*/ 6325413 h 6861600"/>
              <a:gd name="connsiteX22" fmla="*/ 1669855 w 12193200"/>
              <a:gd name="connsiteY22" fmla="*/ 6265409 h 6861600"/>
              <a:gd name="connsiteX23" fmla="*/ 1629144 w 12193200"/>
              <a:gd name="connsiteY23" fmla="*/ 6265409 h 6861600"/>
              <a:gd name="connsiteX24" fmla="*/ 1572649 w 12193200"/>
              <a:gd name="connsiteY24" fmla="*/ 6317420 h 6861600"/>
              <a:gd name="connsiteX25" fmla="*/ 1572649 w 12193200"/>
              <a:gd name="connsiteY25" fmla="*/ 6265409 h 6861600"/>
              <a:gd name="connsiteX26" fmla="*/ 1415032 w 12193200"/>
              <a:gd name="connsiteY26" fmla="*/ 6265409 h 6861600"/>
              <a:gd name="connsiteX27" fmla="*/ 1395297 w 12193200"/>
              <a:gd name="connsiteY27" fmla="*/ 6285447 h 6861600"/>
              <a:gd name="connsiteX28" fmla="*/ 1395297 w 12193200"/>
              <a:gd name="connsiteY28" fmla="*/ 6322676 h 6861600"/>
              <a:gd name="connsiteX29" fmla="*/ 1415032 w 12193200"/>
              <a:gd name="connsiteY29" fmla="*/ 6341401 h 6861600"/>
              <a:gd name="connsiteX30" fmla="*/ 1485989 w 12193200"/>
              <a:gd name="connsiteY30" fmla="*/ 6341401 h 6861600"/>
              <a:gd name="connsiteX31" fmla="*/ 1485989 w 12193200"/>
              <a:gd name="connsiteY31" fmla="*/ 6368008 h 6861600"/>
              <a:gd name="connsiteX32" fmla="*/ 1424212 w 12193200"/>
              <a:gd name="connsiteY32" fmla="*/ 6368008 h 6861600"/>
              <a:gd name="connsiteX33" fmla="*/ 1424212 w 12193200"/>
              <a:gd name="connsiteY33" fmla="*/ 6358703 h 6861600"/>
              <a:gd name="connsiteX34" fmla="*/ 1394011 w 12193200"/>
              <a:gd name="connsiteY34" fmla="*/ 6358703 h 6861600"/>
              <a:gd name="connsiteX35" fmla="*/ 1394011 w 12193200"/>
              <a:gd name="connsiteY35" fmla="*/ 6374687 h 6861600"/>
              <a:gd name="connsiteX36" fmla="*/ 1413746 w 12193200"/>
              <a:gd name="connsiteY36" fmla="*/ 6393302 h 6861600"/>
              <a:gd name="connsiteX37" fmla="*/ 1424212 w 12193200"/>
              <a:gd name="connsiteY37" fmla="*/ 6393302 h 6861600"/>
              <a:gd name="connsiteX38" fmla="*/ 1495169 w 12193200"/>
              <a:gd name="connsiteY38" fmla="*/ 6393302 h 6861600"/>
              <a:gd name="connsiteX39" fmla="*/ 1514770 w 12193200"/>
              <a:gd name="connsiteY39" fmla="*/ 6373375 h 6861600"/>
              <a:gd name="connsiteX40" fmla="*/ 1514770 w 12193200"/>
              <a:gd name="connsiteY40" fmla="*/ 6337352 h 6861600"/>
              <a:gd name="connsiteX41" fmla="*/ 1495169 w 12193200"/>
              <a:gd name="connsiteY41" fmla="*/ 6315996 h 6861600"/>
              <a:gd name="connsiteX42" fmla="*/ 1424212 w 12193200"/>
              <a:gd name="connsiteY42" fmla="*/ 6315996 h 6861600"/>
              <a:gd name="connsiteX43" fmla="*/ 1424212 w 12193200"/>
              <a:gd name="connsiteY43" fmla="*/ 6290703 h 6861600"/>
              <a:gd name="connsiteX44" fmla="*/ 1485989 w 12193200"/>
              <a:gd name="connsiteY44" fmla="*/ 6290703 h 6861600"/>
              <a:gd name="connsiteX45" fmla="*/ 1485989 w 12193200"/>
              <a:gd name="connsiteY45" fmla="*/ 6301436 h 6861600"/>
              <a:gd name="connsiteX46" fmla="*/ 1514770 w 12193200"/>
              <a:gd name="connsiteY46" fmla="*/ 6301436 h 6861600"/>
              <a:gd name="connsiteX47" fmla="*/ 1514770 w 12193200"/>
              <a:gd name="connsiteY47" fmla="*/ 6286760 h 6861600"/>
              <a:gd name="connsiteX48" fmla="*/ 1496455 w 12193200"/>
              <a:gd name="connsiteY48" fmla="*/ 6265409 h 6861600"/>
              <a:gd name="connsiteX49" fmla="*/ 1248195 w 12193200"/>
              <a:gd name="connsiteY49" fmla="*/ 6265409 h 6861600"/>
              <a:gd name="connsiteX50" fmla="*/ 1248195 w 12193200"/>
              <a:gd name="connsiteY50" fmla="*/ 6393302 h 6861600"/>
              <a:gd name="connsiteX51" fmla="*/ 1278445 w 12193200"/>
              <a:gd name="connsiteY51" fmla="*/ 6393302 h 6861600"/>
              <a:gd name="connsiteX52" fmla="*/ 1278445 w 12193200"/>
              <a:gd name="connsiteY52" fmla="*/ 6349394 h 6861600"/>
              <a:gd name="connsiteX53" fmla="*/ 1311258 w 12193200"/>
              <a:gd name="connsiteY53" fmla="*/ 6349394 h 6861600"/>
              <a:gd name="connsiteX54" fmla="*/ 1338887 w 12193200"/>
              <a:gd name="connsiteY54" fmla="*/ 6393302 h 6861600"/>
              <a:gd name="connsiteX55" fmla="*/ 1371615 w 12193200"/>
              <a:gd name="connsiteY55" fmla="*/ 6393302 h 6861600"/>
              <a:gd name="connsiteX56" fmla="*/ 1342834 w 12193200"/>
              <a:gd name="connsiteY56" fmla="*/ 6349394 h 6861600"/>
              <a:gd name="connsiteX57" fmla="*/ 1345454 w 12193200"/>
              <a:gd name="connsiteY57" fmla="*/ 6349394 h 6861600"/>
              <a:gd name="connsiteX58" fmla="*/ 1370334 w 12193200"/>
              <a:gd name="connsiteY58" fmla="*/ 6329355 h 6861600"/>
              <a:gd name="connsiteX59" fmla="*/ 1370334 w 12193200"/>
              <a:gd name="connsiteY59" fmla="*/ 6286760 h 6861600"/>
              <a:gd name="connsiteX60" fmla="*/ 1349353 w 12193200"/>
              <a:gd name="connsiteY60" fmla="*/ 6265409 h 6861600"/>
              <a:gd name="connsiteX61" fmla="*/ 1105039 w 12193200"/>
              <a:gd name="connsiteY61" fmla="*/ 6265409 h 6861600"/>
              <a:gd name="connsiteX62" fmla="*/ 1105039 w 12193200"/>
              <a:gd name="connsiteY62" fmla="*/ 6393302 h 6861600"/>
              <a:gd name="connsiteX63" fmla="*/ 1225847 w 12193200"/>
              <a:gd name="connsiteY63" fmla="*/ 6393302 h 6861600"/>
              <a:gd name="connsiteX64" fmla="*/ 1225847 w 12193200"/>
              <a:gd name="connsiteY64" fmla="*/ 6368008 h 6861600"/>
              <a:gd name="connsiteX65" fmla="*/ 1133954 w 12193200"/>
              <a:gd name="connsiteY65" fmla="*/ 6368008 h 6861600"/>
              <a:gd name="connsiteX66" fmla="*/ 1133954 w 12193200"/>
              <a:gd name="connsiteY66" fmla="*/ 6341401 h 6861600"/>
              <a:gd name="connsiteX67" fmla="*/ 1212716 w 12193200"/>
              <a:gd name="connsiteY67" fmla="*/ 6341401 h 6861600"/>
              <a:gd name="connsiteX68" fmla="*/ 1212716 w 12193200"/>
              <a:gd name="connsiteY68" fmla="*/ 6315996 h 6861600"/>
              <a:gd name="connsiteX69" fmla="*/ 1133954 w 12193200"/>
              <a:gd name="connsiteY69" fmla="*/ 6315996 h 6861600"/>
              <a:gd name="connsiteX70" fmla="*/ 1133954 w 12193200"/>
              <a:gd name="connsiteY70" fmla="*/ 6290703 h 6861600"/>
              <a:gd name="connsiteX71" fmla="*/ 1224512 w 12193200"/>
              <a:gd name="connsiteY71" fmla="*/ 6290703 h 6861600"/>
              <a:gd name="connsiteX72" fmla="*/ 1224512 w 12193200"/>
              <a:gd name="connsiteY72" fmla="*/ 6265409 h 6861600"/>
              <a:gd name="connsiteX73" fmla="*/ 996032 w 12193200"/>
              <a:gd name="connsiteY73" fmla="*/ 6265409 h 6861600"/>
              <a:gd name="connsiteX74" fmla="*/ 939577 w 12193200"/>
              <a:gd name="connsiteY74" fmla="*/ 6393302 h 6861600"/>
              <a:gd name="connsiteX75" fmla="*/ 972350 w 12193200"/>
              <a:gd name="connsiteY75" fmla="*/ 6393302 h 6861600"/>
              <a:gd name="connsiteX76" fmla="*/ 982905 w 12193200"/>
              <a:gd name="connsiteY76" fmla="*/ 6368008 h 6861600"/>
              <a:gd name="connsiteX77" fmla="*/ 1048629 w 12193200"/>
              <a:gd name="connsiteY77" fmla="*/ 6368008 h 6861600"/>
              <a:gd name="connsiteX78" fmla="*/ 1060381 w 12193200"/>
              <a:gd name="connsiteY78" fmla="*/ 6393302 h 6861600"/>
              <a:gd name="connsiteX79" fmla="*/ 1091957 w 12193200"/>
              <a:gd name="connsiteY79" fmla="*/ 6393302 h 6861600"/>
              <a:gd name="connsiteX80" fmla="*/ 1035413 w 12193200"/>
              <a:gd name="connsiteY80" fmla="*/ 6265409 h 6861600"/>
              <a:gd name="connsiteX81" fmla="*/ 777989 w 12193200"/>
              <a:gd name="connsiteY81" fmla="*/ 6265409 h 6861600"/>
              <a:gd name="connsiteX82" fmla="*/ 777989 w 12193200"/>
              <a:gd name="connsiteY82" fmla="*/ 6393302 h 6861600"/>
              <a:gd name="connsiteX83" fmla="*/ 805596 w 12193200"/>
              <a:gd name="connsiteY83" fmla="*/ 6393302 h 6861600"/>
              <a:gd name="connsiteX84" fmla="*/ 805596 w 12193200"/>
              <a:gd name="connsiteY84" fmla="*/ 6320050 h 6861600"/>
              <a:gd name="connsiteX85" fmla="*/ 838420 w 12193200"/>
              <a:gd name="connsiteY85" fmla="*/ 6393302 h 6861600"/>
              <a:gd name="connsiteX86" fmla="*/ 867379 w 12193200"/>
              <a:gd name="connsiteY86" fmla="*/ 6393302 h 6861600"/>
              <a:gd name="connsiteX87" fmla="*/ 900108 w 12193200"/>
              <a:gd name="connsiteY87" fmla="*/ 6318738 h 6861600"/>
              <a:gd name="connsiteX88" fmla="*/ 900108 w 12193200"/>
              <a:gd name="connsiteY88" fmla="*/ 6393302 h 6861600"/>
              <a:gd name="connsiteX89" fmla="*/ 927692 w 12193200"/>
              <a:gd name="connsiteY89" fmla="*/ 6393302 h 6861600"/>
              <a:gd name="connsiteX90" fmla="*/ 927692 w 12193200"/>
              <a:gd name="connsiteY90" fmla="*/ 6265409 h 6861600"/>
              <a:gd name="connsiteX91" fmla="*/ 894875 w 12193200"/>
              <a:gd name="connsiteY91" fmla="*/ 6265409 h 6861600"/>
              <a:gd name="connsiteX92" fmla="*/ 852833 w 12193200"/>
              <a:gd name="connsiteY92" fmla="*/ 6361328 h 6861600"/>
              <a:gd name="connsiteX93" fmla="*/ 810833 w 12193200"/>
              <a:gd name="connsiteY93" fmla="*/ 6265409 h 6861600"/>
              <a:gd name="connsiteX94" fmla="*/ 418098 w 12193200"/>
              <a:gd name="connsiteY94" fmla="*/ 6169025 h 6861600"/>
              <a:gd name="connsiteX95" fmla="*/ 371476 w 12193200"/>
              <a:gd name="connsiteY95" fmla="*/ 6217452 h 6861600"/>
              <a:gd name="connsiteX96" fmla="*/ 371476 w 12193200"/>
              <a:gd name="connsiteY96" fmla="*/ 6441264 h 6861600"/>
              <a:gd name="connsiteX97" fmla="*/ 418098 w 12193200"/>
              <a:gd name="connsiteY97" fmla="*/ 6489688 h 6861600"/>
              <a:gd name="connsiteX98" fmla="*/ 624342 w 12193200"/>
              <a:gd name="connsiteY98" fmla="*/ 6489688 h 6861600"/>
              <a:gd name="connsiteX99" fmla="*/ 672274 w 12193200"/>
              <a:gd name="connsiteY99" fmla="*/ 6441264 h 6861600"/>
              <a:gd name="connsiteX100" fmla="*/ 672274 w 12193200"/>
              <a:gd name="connsiteY100" fmla="*/ 6217452 h 6861600"/>
              <a:gd name="connsiteX101" fmla="*/ 624342 w 12193200"/>
              <a:gd name="connsiteY101" fmla="*/ 6169025 h 6861600"/>
              <a:gd name="connsiteX102" fmla="*/ 0 w 12193200"/>
              <a:gd name="connsiteY102" fmla="*/ 0 h 6861600"/>
              <a:gd name="connsiteX103" fmla="*/ 12193200 w 12193200"/>
              <a:gd name="connsiteY103" fmla="*/ 0 h 6861600"/>
              <a:gd name="connsiteX104" fmla="*/ 12193200 w 12193200"/>
              <a:gd name="connsiteY104" fmla="*/ 6861600 h 6861600"/>
              <a:gd name="connsiteX105" fmla="*/ 0 w 12193200"/>
              <a:gd name="connsiteY105"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2193200" h="6861600">
                <a:moveTo>
                  <a:pt x="657189" y="6441263"/>
                </a:moveTo>
                <a:lnTo>
                  <a:pt x="657189" y="6441264"/>
                </a:lnTo>
                <a:cubicBezTo>
                  <a:pt x="657189" y="6459879"/>
                  <a:pt x="642674" y="6474551"/>
                  <a:pt x="624342" y="6474551"/>
                </a:cubicBezTo>
                <a:lnTo>
                  <a:pt x="624340" y="6474551"/>
                </a:lnTo>
                <a:cubicBezTo>
                  <a:pt x="642674" y="6474551"/>
                  <a:pt x="657189" y="6459878"/>
                  <a:pt x="657189" y="6441263"/>
                </a:cubicBezTo>
                <a:close/>
                <a:moveTo>
                  <a:pt x="386560" y="6441263"/>
                </a:moveTo>
                <a:lnTo>
                  <a:pt x="389769" y="6449342"/>
                </a:lnTo>
                <a:lnTo>
                  <a:pt x="386560" y="6441264"/>
                </a:lnTo>
                <a:close/>
                <a:moveTo>
                  <a:pt x="1278445" y="6290703"/>
                </a:moveTo>
                <a:lnTo>
                  <a:pt x="1341508" y="6290703"/>
                </a:lnTo>
                <a:lnTo>
                  <a:pt x="1341508" y="6323993"/>
                </a:lnTo>
                <a:lnTo>
                  <a:pt x="1278445" y="6323993"/>
                </a:lnTo>
                <a:close/>
                <a:moveTo>
                  <a:pt x="1015767" y="6289390"/>
                </a:moveTo>
                <a:lnTo>
                  <a:pt x="1038029" y="6344031"/>
                </a:lnTo>
                <a:lnTo>
                  <a:pt x="993415" y="6344031"/>
                </a:lnTo>
                <a:close/>
                <a:moveTo>
                  <a:pt x="1542399" y="6265409"/>
                </a:moveTo>
                <a:lnTo>
                  <a:pt x="1542399" y="6393302"/>
                </a:lnTo>
                <a:lnTo>
                  <a:pt x="1572649" y="6393302"/>
                </a:lnTo>
                <a:lnTo>
                  <a:pt x="1572649" y="6334722"/>
                </a:lnTo>
                <a:lnTo>
                  <a:pt x="1630474" y="6393302"/>
                </a:lnTo>
                <a:lnTo>
                  <a:pt x="1672471" y="6393302"/>
                </a:lnTo>
                <a:lnTo>
                  <a:pt x="1602845" y="6325413"/>
                </a:lnTo>
                <a:lnTo>
                  <a:pt x="1669855" y="6265409"/>
                </a:lnTo>
                <a:lnTo>
                  <a:pt x="1629144" y="6265409"/>
                </a:lnTo>
                <a:lnTo>
                  <a:pt x="1572649" y="6317420"/>
                </a:lnTo>
                <a:lnTo>
                  <a:pt x="1572649" y="6265409"/>
                </a:lnTo>
                <a:close/>
                <a:moveTo>
                  <a:pt x="1415032" y="6265409"/>
                </a:moveTo>
                <a:cubicBezTo>
                  <a:pt x="1404477" y="6265409"/>
                  <a:pt x="1395297" y="6273406"/>
                  <a:pt x="1395297" y="6285447"/>
                </a:cubicBezTo>
                <a:lnTo>
                  <a:pt x="1395297" y="6322676"/>
                </a:lnTo>
                <a:cubicBezTo>
                  <a:pt x="1395297" y="6333409"/>
                  <a:pt x="1403147" y="6341401"/>
                  <a:pt x="1415032" y="6341401"/>
                </a:cubicBezTo>
                <a:lnTo>
                  <a:pt x="1485989" y="6341401"/>
                </a:lnTo>
                <a:lnTo>
                  <a:pt x="1485989" y="6368008"/>
                </a:lnTo>
                <a:lnTo>
                  <a:pt x="1424212" y="6368008"/>
                </a:lnTo>
                <a:lnTo>
                  <a:pt x="1424212" y="6358703"/>
                </a:lnTo>
                <a:lnTo>
                  <a:pt x="1394011" y="6358703"/>
                </a:lnTo>
                <a:lnTo>
                  <a:pt x="1394011" y="6374687"/>
                </a:lnTo>
                <a:cubicBezTo>
                  <a:pt x="1394011" y="6385309"/>
                  <a:pt x="1400530" y="6393302"/>
                  <a:pt x="1413746" y="6393302"/>
                </a:cubicBezTo>
                <a:lnTo>
                  <a:pt x="1424212" y="6393302"/>
                </a:lnTo>
                <a:lnTo>
                  <a:pt x="1495169" y="6393302"/>
                </a:lnTo>
                <a:cubicBezTo>
                  <a:pt x="1508251" y="6393302"/>
                  <a:pt x="1514770" y="6385309"/>
                  <a:pt x="1514770" y="6373375"/>
                </a:cubicBezTo>
                <a:lnTo>
                  <a:pt x="1514770" y="6337352"/>
                </a:lnTo>
                <a:cubicBezTo>
                  <a:pt x="1514770" y="6323993"/>
                  <a:pt x="1505635" y="6315996"/>
                  <a:pt x="1495169" y="6315996"/>
                </a:cubicBezTo>
                <a:lnTo>
                  <a:pt x="1424212" y="6315996"/>
                </a:lnTo>
                <a:lnTo>
                  <a:pt x="1424212" y="6290703"/>
                </a:lnTo>
                <a:lnTo>
                  <a:pt x="1485989" y="6290703"/>
                </a:lnTo>
                <a:lnTo>
                  <a:pt x="1485989" y="6301436"/>
                </a:lnTo>
                <a:lnTo>
                  <a:pt x="1514770" y="6301436"/>
                </a:lnTo>
                <a:lnTo>
                  <a:pt x="1514770" y="6286760"/>
                </a:lnTo>
                <a:cubicBezTo>
                  <a:pt x="1514770" y="6273406"/>
                  <a:pt x="1506921" y="6265409"/>
                  <a:pt x="1496455" y="6265409"/>
                </a:cubicBezTo>
                <a:close/>
                <a:moveTo>
                  <a:pt x="1248195" y="6265409"/>
                </a:moveTo>
                <a:lnTo>
                  <a:pt x="1248195" y="6393302"/>
                </a:lnTo>
                <a:lnTo>
                  <a:pt x="1278445" y="6393302"/>
                </a:lnTo>
                <a:lnTo>
                  <a:pt x="1278445" y="6349394"/>
                </a:lnTo>
                <a:lnTo>
                  <a:pt x="1311258" y="6349394"/>
                </a:lnTo>
                <a:lnTo>
                  <a:pt x="1338887" y="6393302"/>
                </a:lnTo>
                <a:lnTo>
                  <a:pt x="1371615" y="6393302"/>
                </a:lnTo>
                <a:lnTo>
                  <a:pt x="1342834" y="6349394"/>
                </a:lnTo>
                <a:lnTo>
                  <a:pt x="1345454" y="6349394"/>
                </a:lnTo>
                <a:cubicBezTo>
                  <a:pt x="1362440" y="6349394"/>
                  <a:pt x="1370334" y="6339977"/>
                  <a:pt x="1370334" y="6329355"/>
                </a:cubicBezTo>
                <a:lnTo>
                  <a:pt x="1370334" y="6286760"/>
                </a:lnTo>
                <a:cubicBezTo>
                  <a:pt x="1370334" y="6273406"/>
                  <a:pt x="1362440" y="6265409"/>
                  <a:pt x="1349353" y="6265409"/>
                </a:cubicBezTo>
                <a:close/>
                <a:moveTo>
                  <a:pt x="1105039" y="6265409"/>
                </a:moveTo>
                <a:lnTo>
                  <a:pt x="1105039" y="6393302"/>
                </a:lnTo>
                <a:lnTo>
                  <a:pt x="1225847" y="6393302"/>
                </a:lnTo>
                <a:lnTo>
                  <a:pt x="1225847" y="6368008"/>
                </a:lnTo>
                <a:lnTo>
                  <a:pt x="1133954" y="6368008"/>
                </a:lnTo>
                <a:lnTo>
                  <a:pt x="1133954" y="6341401"/>
                </a:lnTo>
                <a:lnTo>
                  <a:pt x="1212716" y="6341401"/>
                </a:lnTo>
                <a:lnTo>
                  <a:pt x="1212716" y="6315996"/>
                </a:lnTo>
                <a:lnTo>
                  <a:pt x="1133954" y="6315996"/>
                </a:lnTo>
                <a:lnTo>
                  <a:pt x="1133954" y="6290703"/>
                </a:lnTo>
                <a:lnTo>
                  <a:pt x="1224512" y="6290703"/>
                </a:lnTo>
                <a:lnTo>
                  <a:pt x="1224512" y="6265409"/>
                </a:lnTo>
                <a:close/>
                <a:moveTo>
                  <a:pt x="996032" y="6265409"/>
                </a:moveTo>
                <a:lnTo>
                  <a:pt x="939577" y="6393302"/>
                </a:lnTo>
                <a:lnTo>
                  <a:pt x="972350" y="6393302"/>
                </a:lnTo>
                <a:lnTo>
                  <a:pt x="982905" y="6368008"/>
                </a:lnTo>
                <a:lnTo>
                  <a:pt x="1048629" y="6368008"/>
                </a:lnTo>
                <a:lnTo>
                  <a:pt x="1060381" y="6393302"/>
                </a:lnTo>
                <a:lnTo>
                  <a:pt x="1091957" y="6393302"/>
                </a:lnTo>
                <a:lnTo>
                  <a:pt x="1035413" y="6265409"/>
                </a:lnTo>
                <a:close/>
                <a:moveTo>
                  <a:pt x="777989" y="6265409"/>
                </a:moveTo>
                <a:lnTo>
                  <a:pt x="777989" y="6393302"/>
                </a:lnTo>
                <a:lnTo>
                  <a:pt x="805596" y="6393302"/>
                </a:lnTo>
                <a:lnTo>
                  <a:pt x="805596" y="6320050"/>
                </a:lnTo>
                <a:lnTo>
                  <a:pt x="838420" y="6393302"/>
                </a:lnTo>
                <a:lnTo>
                  <a:pt x="867379" y="6393302"/>
                </a:lnTo>
                <a:lnTo>
                  <a:pt x="900108" y="6318738"/>
                </a:lnTo>
                <a:lnTo>
                  <a:pt x="900108" y="6393302"/>
                </a:lnTo>
                <a:lnTo>
                  <a:pt x="927692" y="6393302"/>
                </a:lnTo>
                <a:lnTo>
                  <a:pt x="927692" y="6265409"/>
                </a:lnTo>
                <a:lnTo>
                  <a:pt x="894875" y="6265409"/>
                </a:lnTo>
                <a:lnTo>
                  <a:pt x="852833" y="6361328"/>
                </a:lnTo>
                <a:lnTo>
                  <a:pt x="810833" y="6265409"/>
                </a:lnTo>
                <a:close/>
                <a:moveTo>
                  <a:pt x="418098" y="6169025"/>
                </a:moveTo>
                <a:cubicBezTo>
                  <a:pt x="392390" y="6169025"/>
                  <a:pt x="371476" y="6190749"/>
                  <a:pt x="371476" y="6217452"/>
                </a:cubicBezTo>
                <a:lnTo>
                  <a:pt x="371476" y="6441264"/>
                </a:lnTo>
                <a:cubicBezTo>
                  <a:pt x="371476" y="6467965"/>
                  <a:pt x="392390" y="6489688"/>
                  <a:pt x="418098" y="6489688"/>
                </a:cubicBezTo>
                <a:lnTo>
                  <a:pt x="624342" y="6489688"/>
                </a:lnTo>
                <a:cubicBezTo>
                  <a:pt x="651219" y="6489688"/>
                  <a:pt x="672274" y="6468418"/>
                  <a:pt x="672274" y="6441264"/>
                </a:cubicBezTo>
                <a:lnTo>
                  <a:pt x="672274" y="6217452"/>
                </a:lnTo>
                <a:cubicBezTo>
                  <a:pt x="672274" y="6190297"/>
                  <a:pt x="651219" y="6169025"/>
                  <a:pt x="624342" y="6169025"/>
                </a:cubicBezTo>
                <a:close/>
                <a:moveTo>
                  <a:pt x="0" y="0"/>
                </a:moveTo>
                <a:lnTo>
                  <a:pt x="12193200" y="0"/>
                </a:lnTo>
                <a:lnTo>
                  <a:pt x="12193200" y="6861600"/>
                </a:lnTo>
                <a:lnTo>
                  <a:pt x="0" y="6861600"/>
                </a:lnTo>
                <a:close/>
              </a:path>
            </a:pathLst>
          </a:custGeom>
          <a:solidFill>
            <a:schemeClr val="accent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2" name="Title 1"/>
          <p:cNvSpPr>
            <a:spLocks noGrp="1"/>
          </p:cNvSpPr>
          <p:nvPr>
            <p:ph type="ctrTitle" hasCustomPrompt="1"/>
          </p:nvPr>
        </p:nvSpPr>
        <p:spPr>
          <a:xfrm>
            <a:off x="371475" y="2732088"/>
            <a:ext cx="5602288" cy="1816100"/>
          </a:xfrm>
        </p:spPr>
        <p:txBody>
          <a:bodyPr anchor="t"/>
          <a:lstStyle>
            <a:lvl1pPr algn="l">
              <a:defRPr sz="4000">
                <a:solidFill>
                  <a:schemeClr val="bg1"/>
                </a:solidFill>
              </a:defRPr>
            </a:lvl1pPr>
          </a:lstStyle>
          <a:p>
            <a:r>
              <a:rPr lang="en-GB" dirty="0"/>
              <a:t>Click to add title</a:t>
            </a:r>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r>
              <a:rPr lang="en-GB" dirty="0"/>
              <a:t>.</a:t>
            </a:r>
          </a:p>
        </p:txBody>
      </p:sp>
    </p:spTree>
    <p:extLst>
      <p:ext uri="{BB962C8B-B14F-4D97-AF65-F5344CB8AC3E}">
        <p14:creationId xmlns:p14="http://schemas.microsoft.com/office/powerpoint/2010/main" val="5040843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ext and imag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203949" y="368300"/>
            <a:ext cx="5616575" cy="5157289"/>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tx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2" name="Title 1"/>
          <p:cNvSpPr>
            <a:spLocks noGrp="1"/>
          </p:cNvSpPr>
          <p:nvPr>
            <p:ph type="title" hasCustomPrompt="1"/>
          </p:nvPr>
        </p:nvSpPr>
        <p:spPr>
          <a:xfrm>
            <a:off x="371475" y="2735263"/>
            <a:ext cx="5616575" cy="2365375"/>
          </a:xfrm>
        </p:spPr>
        <p:txBody>
          <a:bodyPr/>
          <a:lstStyle>
            <a:lvl1pPr>
              <a:defRPr sz="4000" b="0">
                <a:solidFill>
                  <a:schemeClr val="tx1"/>
                </a:solidFill>
                <a:latin typeface="+mj-lt"/>
              </a:defRPr>
            </a:lvl1pPr>
          </a:lstStyle>
          <a:p>
            <a:r>
              <a:rPr lang="en-GB" noProof="0" dirty="0"/>
              <a:t>Click to add title</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r>
              <a:rPr lang="en-GB"/>
              <a:t>Insert presentation title via Header &amp; Footer</a:t>
            </a:r>
            <a:endParaRPr lang="en-GB" dirty="0"/>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endParaRPr lang="en-GB"/>
          </a:p>
          <a:p>
            <a:r>
              <a:rPr lang="en-GB"/>
              <a:t>.</a:t>
            </a:r>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pic>
        <p:nvPicPr>
          <p:cNvPr id="5" name="Picture 29">
            <a:extLst>
              <a:ext uri="{FF2B5EF4-FFF2-40B4-BE49-F238E27FC236}">
                <a16:creationId xmlns:a16="http://schemas.microsoft.com/office/drawing/2014/main" id="{793661C6-6C19-5B97-B9D3-53D479A3A69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7216337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grey A">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450D451-166A-DB50-93BB-F1B2DF01ACA0}"/>
              </a:ext>
            </a:extLst>
          </p:cNvPr>
          <p:cNvSpPr>
            <a:spLocks noGrp="1"/>
          </p:cNvSpPr>
          <p:nvPr>
            <p:ph sz="half" idx="17" hasCustomPrompt="1"/>
          </p:nvPr>
        </p:nvSpPr>
        <p:spPr>
          <a:xfrm>
            <a:off x="6203951" y="1944000"/>
            <a:ext cx="5616574"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Content Placeholder 2"/>
          <p:cNvSpPr>
            <a:spLocks noGrp="1"/>
          </p:cNvSpPr>
          <p:nvPr>
            <p:ph sz="half" idx="1" hasCustomPrompt="1"/>
          </p:nvPr>
        </p:nvSpPr>
        <p:spPr>
          <a:xfrm>
            <a:off x="371476" y="1944000"/>
            <a:ext cx="5616574"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9" name="Picture 29">
            <a:extLst>
              <a:ext uri="{FF2B5EF4-FFF2-40B4-BE49-F238E27FC236}">
                <a16:creationId xmlns:a16="http://schemas.microsoft.com/office/drawing/2014/main" id="{06D7CFA5-B4CD-BC99-2280-42DB773193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7053107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colour A">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450D451-166A-DB50-93BB-F1B2DF01ACA0}"/>
              </a:ext>
            </a:extLst>
          </p:cNvPr>
          <p:cNvSpPr>
            <a:spLocks noGrp="1"/>
          </p:cNvSpPr>
          <p:nvPr>
            <p:ph sz="half" idx="17" hasCustomPrompt="1"/>
          </p:nvPr>
        </p:nvSpPr>
        <p:spPr>
          <a:xfrm>
            <a:off x="6203951" y="1944000"/>
            <a:ext cx="5616574" cy="3693600"/>
          </a:xfrm>
          <a:prstGeom prst="roundRect">
            <a:avLst>
              <a:gd name="adj" fmla="val 1980"/>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Content Placeholder 2"/>
          <p:cNvSpPr>
            <a:spLocks noGrp="1"/>
          </p:cNvSpPr>
          <p:nvPr>
            <p:ph sz="half" idx="1" hasCustomPrompt="1"/>
          </p:nvPr>
        </p:nvSpPr>
        <p:spPr>
          <a:xfrm>
            <a:off x="371476" y="1944000"/>
            <a:ext cx="5616574"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9" name="Picture 29">
            <a:extLst>
              <a:ext uri="{FF2B5EF4-FFF2-40B4-BE49-F238E27FC236}">
                <a16:creationId xmlns:a16="http://schemas.microsoft.com/office/drawing/2014/main" id="{06D7CFA5-B4CD-BC99-2280-42DB773193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475826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grey B">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2D5D55B9-CBF6-5220-4010-C5194D552D4E}"/>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9" name="Content Placeholder 2">
            <a:extLst>
              <a:ext uri="{FF2B5EF4-FFF2-40B4-BE49-F238E27FC236}">
                <a16:creationId xmlns:a16="http://schemas.microsoft.com/office/drawing/2014/main" id="{17B7027F-6F96-E788-ACC5-2FE04C67D55A}"/>
              </a:ext>
            </a:extLst>
          </p:cNvPr>
          <p:cNvSpPr>
            <a:spLocks noGrp="1"/>
          </p:cNvSpPr>
          <p:nvPr>
            <p:ph sz="half" idx="18" hasCustomPrompt="1"/>
          </p:nvPr>
        </p:nvSpPr>
        <p:spPr>
          <a:xfrm>
            <a:off x="4259263" y="1944000"/>
            <a:ext cx="7561261"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4" name="Picture 29">
            <a:extLst>
              <a:ext uri="{FF2B5EF4-FFF2-40B4-BE49-F238E27FC236}">
                <a16:creationId xmlns:a16="http://schemas.microsoft.com/office/drawing/2014/main" id="{01529D73-45CA-20DE-B314-D61FB92DE5C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2135118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colour B">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2D5D55B9-CBF6-5220-4010-C5194D552D4E}"/>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9" name="Content Placeholder 2">
            <a:extLst>
              <a:ext uri="{FF2B5EF4-FFF2-40B4-BE49-F238E27FC236}">
                <a16:creationId xmlns:a16="http://schemas.microsoft.com/office/drawing/2014/main" id="{17B7027F-6F96-E788-ACC5-2FE04C67D55A}"/>
              </a:ext>
            </a:extLst>
          </p:cNvPr>
          <p:cNvSpPr>
            <a:spLocks noGrp="1"/>
          </p:cNvSpPr>
          <p:nvPr>
            <p:ph sz="half" idx="18" hasCustomPrompt="1"/>
          </p:nvPr>
        </p:nvSpPr>
        <p:spPr>
          <a:xfrm>
            <a:off x="4259263" y="1944000"/>
            <a:ext cx="7561261" cy="3693600"/>
          </a:xfrm>
          <a:prstGeom prst="roundRect">
            <a:avLst>
              <a:gd name="adj" fmla="val 1980"/>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4" name="Picture 29">
            <a:extLst>
              <a:ext uri="{FF2B5EF4-FFF2-40B4-BE49-F238E27FC236}">
                <a16:creationId xmlns:a16="http://schemas.microsoft.com/office/drawing/2014/main" id="{01529D73-45CA-20DE-B314-D61FB92DE5C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9243451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2">
            <a:extLst>
              <a:ext uri="{FF2B5EF4-FFF2-40B4-BE49-F238E27FC236}">
                <a16:creationId xmlns:a16="http://schemas.microsoft.com/office/drawing/2014/main" id="{2CF42059-250B-C626-EC80-B1495B4A7246}"/>
              </a:ext>
            </a:extLst>
          </p:cNvPr>
          <p:cNvSpPr>
            <a:spLocks noGrp="1"/>
          </p:cNvSpPr>
          <p:nvPr>
            <p:ph sz="half" idx="18" hasCustomPrompt="1"/>
          </p:nvPr>
        </p:nvSpPr>
        <p:spPr>
          <a:xfrm>
            <a:off x="4259263"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2">
            <a:extLst>
              <a:ext uri="{FF2B5EF4-FFF2-40B4-BE49-F238E27FC236}">
                <a16:creationId xmlns:a16="http://schemas.microsoft.com/office/drawing/2014/main" id="{F3B0D891-C34C-C701-8D3E-46A3F8DAC619}"/>
              </a:ext>
            </a:extLst>
          </p:cNvPr>
          <p:cNvSpPr>
            <a:spLocks noGrp="1"/>
          </p:cNvSpPr>
          <p:nvPr>
            <p:ph sz="half" idx="19" hasCustomPrompt="1"/>
          </p:nvPr>
        </p:nvSpPr>
        <p:spPr>
          <a:xfrm>
            <a:off x="8148638"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7679064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chemeClr val="bg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AB12982D-D35D-CD4E-DFD3-3B65652528D8}"/>
              </a:ext>
            </a:extLst>
          </p:cNvPr>
          <p:cNvSpPr/>
          <p:nvPr userDrawn="1"/>
        </p:nvSpPr>
        <p:spPr>
          <a:xfrm>
            <a:off x="0" y="0"/>
            <a:ext cx="12192000" cy="6483404"/>
          </a:xfrm>
          <a:custGeom>
            <a:avLst/>
            <a:gdLst>
              <a:gd name="connsiteX0" fmla="*/ 0 w 12192000"/>
              <a:gd name="connsiteY0" fmla="*/ 0 h 6483404"/>
              <a:gd name="connsiteX1" fmla="*/ 8210551 w 12192000"/>
              <a:gd name="connsiteY1" fmla="*/ 0 h 6483404"/>
              <a:gd name="connsiteX2" fmla="*/ 8210551 w 12192000"/>
              <a:gd name="connsiteY2" fmla="*/ 1 h 6483404"/>
              <a:gd name="connsiteX3" fmla="*/ 12192000 w 12192000"/>
              <a:gd name="connsiteY3" fmla="*/ 1 h 6483404"/>
              <a:gd name="connsiteX4" fmla="*/ 12192000 w 12192000"/>
              <a:gd name="connsiteY4" fmla="*/ 4414450 h 6483404"/>
              <a:gd name="connsiteX5" fmla="*/ 12192000 w 12192000"/>
              <a:gd name="connsiteY5" fmla="*/ 4527604 h 6483404"/>
              <a:gd name="connsiteX6" fmla="*/ 12192000 w 12192000"/>
              <a:gd name="connsiteY6" fmla="*/ 5635422 h 6483404"/>
              <a:gd name="connsiteX7" fmla="*/ 11344018 w 12192000"/>
              <a:gd name="connsiteY7" fmla="*/ 6483404 h 6483404"/>
              <a:gd name="connsiteX8" fmla="*/ 10222738 w 12192000"/>
              <a:gd name="connsiteY8" fmla="*/ 6483404 h 6483404"/>
              <a:gd name="connsiteX9" fmla="*/ 9813420 w 12192000"/>
              <a:gd name="connsiteY9" fmla="*/ 6483404 h 6483404"/>
              <a:gd name="connsiteX10" fmla="*/ 5765038 w 12192000"/>
              <a:gd name="connsiteY10" fmla="*/ 6483404 h 6483404"/>
              <a:gd name="connsiteX11" fmla="*/ 5765038 w 12192000"/>
              <a:gd name="connsiteY11" fmla="*/ 6483403 h 6483404"/>
              <a:gd name="connsiteX12" fmla="*/ 0 w 12192000"/>
              <a:gd name="connsiteY12" fmla="*/ 6483403 h 64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483404">
                <a:moveTo>
                  <a:pt x="0" y="0"/>
                </a:moveTo>
                <a:lnTo>
                  <a:pt x="8210551" y="0"/>
                </a:lnTo>
                <a:lnTo>
                  <a:pt x="8210551" y="1"/>
                </a:lnTo>
                <a:lnTo>
                  <a:pt x="12192000" y="1"/>
                </a:lnTo>
                <a:lnTo>
                  <a:pt x="12192000" y="4414450"/>
                </a:lnTo>
                <a:lnTo>
                  <a:pt x="12192000" y="4527604"/>
                </a:lnTo>
                <a:lnTo>
                  <a:pt x="12192000" y="5635422"/>
                </a:lnTo>
                <a:cubicBezTo>
                  <a:pt x="12192000" y="6103750"/>
                  <a:pt x="11812346" y="6483404"/>
                  <a:pt x="11344018" y="6483404"/>
                </a:cubicBezTo>
                <a:lnTo>
                  <a:pt x="10222738" y="6483404"/>
                </a:lnTo>
                <a:lnTo>
                  <a:pt x="9813420" y="6483404"/>
                </a:lnTo>
                <a:lnTo>
                  <a:pt x="5765038" y="6483404"/>
                </a:lnTo>
                <a:lnTo>
                  <a:pt x="5765038" y="6483403"/>
                </a:lnTo>
                <a:lnTo>
                  <a:pt x="0" y="64834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p>
        </p:txBody>
      </p:sp>
      <p:sp>
        <p:nvSpPr>
          <p:cNvPr id="15" name="Title 1">
            <a:extLst>
              <a:ext uri="{FF2B5EF4-FFF2-40B4-BE49-F238E27FC236}">
                <a16:creationId xmlns:a16="http://schemas.microsoft.com/office/drawing/2014/main" id="{F779AE45-9325-9747-A087-FA65D14DF943}"/>
              </a:ext>
            </a:extLst>
          </p:cNvPr>
          <p:cNvSpPr>
            <a:spLocks noGrp="1"/>
          </p:cNvSpPr>
          <p:nvPr>
            <p:ph type="ctrTitle" hasCustomPrompt="1"/>
          </p:nvPr>
        </p:nvSpPr>
        <p:spPr>
          <a:xfrm>
            <a:off x="371475" y="1943100"/>
            <a:ext cx="10829925" cy="2550523"/>
          </a:xfrm>
        </p:spPr>
        <p:txBody>
          <a:bodyPr anchor="t"/>
          <a:lstStyle>
            <a:lvl1pPr algn="l">
              <a:lnSpc>
                <a:spcPts val="5800"/>
              </a:lnSpc>
              <a:defRPr sz="5400">
                <a:solidFill>
                  <a:schemeClr val="bg1"/>
                </a:solidFill>
              </a:defRPr>
            </a:lvl1pPr>
          </a:lstStyle>
          <a:p>
            <a:r>
              <a:rPr lang="en-GB" dirty="0"/>
              <a:t>Click to add title</a:t>
            </a:r>
          </a:p>
        </p:txBody>
      </p:sp>
      <p:pic>
        <p:nvPicPr>
          <p:cNvPr id="17" name="Graphic 16">
            <a:extLst>
              <a:ext uri="{FF2B5EF4-FFF2-40B4-BE49-F238E27FC236}">
                <a16:creationId xmlns:a16="http://schemas.microsoft.com/office/drawing/2014/main" id="{EA98EC77-38EE-0D5E-CC88-514A9AE6F6D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89632" y="5868710"/>
            <a:ext cx="1531435" cy="180000"/>
          </a:xfrm>
          <a:prstGeom prst="rect">
            <a:avLst/>
          </a:prstGeom>
        </p:spPr>
      </p:pic>
      <p:pic>
        <p:nvPicPr>
          <p:cNvPr id="4" name="Picture 29">
            <a:extLst>
              <a:ext uri="{FF2B5EF4-FFF2-40B4-BE49-F238E27FC236}">
                <a16:creationId xmlns:a16="http://schemas.microsoft.com/office/drawing/2014/main" id="{CBC55F8E-D332-2671-CC35-F818567F57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9249" y="5727699"/>
            <a:ext cx="1879200" cy="463364"/>
          </a:xfrm>
          <a:prstGeom prst="rect">
            <a:avLst/>
          </a:prstGeom>
        </p:spPr>
      </p:pic>
    </p:spTree>
    <p:extLst>
      <p:ext uri="{BB962C8B-B14F-4D97-AF65-F5344CB8AC3E}">
        <p14:creationId xmlns:p14="http://schemas.microsoft.com/office/powerpoint/2010/main" val="29865430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colo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tent Placeholder 2">
            <a:extLst>
              <a:ext uri="{FF2B5EF4-FFF2-40B4-BE49-F238E27FC236}">
                <a16:creationId xmlns:a16="http://schemas.microsoft.com/office/drawing/2014/main" id="{2CF42059-250B-C626-EC80-B1495B4A7246}"/>
              </a:ext>
            </a:extLst>
          </p:cNvPr>
          <p:cNvSpPr>
            <a:spLocks noGrp="1"/>
          </p:cNvSpPr>
          <p:nvPr>
            <p:ph sz="half" idx="18" hasCustomPrompt="1"/>
          </p:nvPr>
        </p:nvSpPr>
        <p:spPr>
          <a:xfrm>
            <a:off x="4259263" y="1944000"/>
            <a:ext cx="3671887" cy="3693600"/>
          </a:xfrm>
          <a:prstGeom prst="roundRect">
            <a:avLst>
              <a:gd name="adj" fmla="val 1980"/>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2">
            <a:extLst>
              <a:ext uri="{FF2B5EF4-FFF2-40B4-BE49-F238E27FC236}">
                <a16:creationId xmlns:a16="http://schemas.microsoft.com/office/drawing/2014/main" id="{F3B0D891-C34C-C701-8D3E-46A3F8DAC619}"/>
              </a:ext>
            </a:extLst>
          </p:cNvPr>
          <p:cNvSpPr>
            <a:spLocks noGrp="1"/>
          </p:cNvSpPr>
          <p:nvPr>
            <p:ph sz="half" idx="19" hasCustomPrompt="1"/>
          </p:nvPr>
        </p:nvSpPr>
        <p:spPr>
          <a:xfrm>
            <a:off x="8148638" y="1944000"/>
            <a:ext cx="3671887" cy="3693600"/>
          </a:xfrm>
          <a:prstGeom prst="roundRect">
            <a:avLst>
              <a:gd name="adj" fmla="val 1980"/>
            </a:avLst>
          </a:prstGeom>
          <a:solidFill>
            <a:schemeClr val="accent1"/>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1166877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14" name="Content Placeholder 2">
            <a:extLst>
              <a:ext uri="{FF2B5EF4-FFF2-40B4-BE49-F238E27FC236}">
                <a16:creationId xmlns:a16="http://schemas.microsoft.com/office/drawing/2014/main" id="{8C34D318-1F20-E625-1A1B-CE897828848D}"/>
              </a:ext>
            </a:extLst>
          </p:cNvPr>
          <p:cNvSpPr>
            <a:spLocks noGrp="1"/>
          </p:cNvSpPr>
          <p:nvPr>
            <p:ph sz="half" idx="18" hasCustomPrompt="1"/>
          </p:nvPr>
        </p:nvSpPr>
        <p:spPr>
          <a:xfrm>
            <a:off x="3287713"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Content Placeholder 2">
            <a:extLst>
              <a:ext uri="{FF2B5EF4-FFF2-40B4-BE49-F238E27FC236}">
                <a16:creationId xmlns:a16="http://schemas.microsoft.com/office/drawing/2014/main" id="{AEF1A033-1317-8E8A-1C25-6343B8170D08}"/>
              </a:ext>
            </a:extLst>
          </p:cNvPr>
          <p:cNvSpPr>
            <a:spLocks noGrp="1"/>
          </p:cNvSpPr>
          <p:nvPr>
            <p:ph sz="half" idx="19" hasCustomPrompt="1"/>
          </p:nvPr>
        </p:nvSpPr>
        <p:spPr>
          <a:xfrm>
            <a:off x="9120188"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Content Placeholder 2">
            <a:extLst>
              <a:ext uri="{FF2B5EF4-FFF2-40B4-BE49-F238E27FC236}">
                <a16:creationId xmlns:a16="http://schemas.microsoft.com/office/drawing/2014/main" id="{5EE6D3DA-AD4C-D672-0575-5FB978F024C1}"/>
              </a:ext>
            </a:extLst>
          </p:cNvPr>
          <p:cNvSpPr>
            <a:spLocks noGrp="1"/>
          </p:cNvSpPr>
          <p:nvPr>
            <p:ph sz="half" idx="20" hasCustomPrompt="1"/>
          </p:nvPr>
        </p:nvSpPr>
        <p:spPr>
          <a:xfrm>
            <a:off x="6203950"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79056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colo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Content Placeholder 2">
            <a:extLst>
              <a:ext uri="{FF2B5EF4-FFF2-40B4-BE49-F238E27FC236}">
                <a16:creationId xmlns:a16="http://schemas.microsoft.com/office/drawing/2014/main" id="{F2A8BE1E-01A9-261E-17E4-5916A200C9C8}"/>
              </a:ext>
            </a:extLst>
          </p:cNvPr>
          <p:cNvSpPr>
            <a:spLocks noGrp="1"/>
          </p:cNvSpPr>
          <p:nvPr>
            <p:ph sz="half" idx="17" hasCustomPrompt="1"/>
          </p:nvPr>
        </p:nvSpPr>
        <p:spPr>
          <a:xfrm>
            <a:off x="371476"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Content Placeholder 2">
            <a:extLst>
              <a:ext uri="{FF2B5EF4-FFF2-40B4-BE49-F238E27FC236}">
                <a16:creationId xmlns:a16="http://schemas.microsoft.com/office/drawing/2014/main" id="{35119CAF-1949-A2B9-1EFA-CE36BE0D2F58}"/>
              </a:ext>
            </a:extLst>
          </p:cNvPr>
          <p:cNvSpPr>
            <a:spLocks noGrp="1"/>
          </p:cNvSpPr>
          <p:nvPr>
            <p:ph sz="half" idx="21" hasCustomPrompt="1"/>
          </p:nvPr>
        </p:nvSpPr>
        <p:spPr>
          <a:xfrm>
            <a:off x="3287713" y="1944000"/>
            <a:ext cx="2700337" cy="3693600"/>
          </a:xfrm>
          <a:prstGeom prst="roundRect">
            <a:avLst>
              <a:gd name="adj" fmla="val 2417"/>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Content Placeholder 2">
            <a:extLst>
              <a:ext uri="{FF2B5EF4-FFF2-40B4-BE49-F238E27FC236}">
                <a16:creationId xmlns:a16="http://schemas.microsoft.com/office/drawing/2014/main" id="{3FFE4071-60A8-12CD-2B46-9A6180ECC4F0}"/>
              </a:ext>
            </a:extLst>
          </p:cNvPr>
          <p:cNvSpPr>
            <a:spLocks noGrp="1"/>
          </p:cNvSpPr>
          <p:nvPr>
            <p:ph sz="half" idx="22" hasCustomPrompt="1"/>
          </p:nvPr>
        </p:nvSpPr>
        <p:spPr>
          <a:xfrm>
            <a:off x="9120188" y="1944000"/>
            <a:ext cx="2700337" cy="3693600"/>
          </a:xfrm>
          <a:prstGeom prst="roundRect">
            <a:avLst>
              <a:gd name="adj" fmla="val 2417"/>
            </a:avLst>
          </a:prstGeom>
          <a:solidFill>
            <a:schemeClr val="accent1"/>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Content Placeholder 2">
            <a:extLst>
              <a:ext uri="{FF2B5EF4-FFF2-40B4-BE49-F238E27FC236}">
                <a16:creationId xmlns:a16="http://schemas.microsoft.com/office/drawing/2014/main" id="{C05CCAF1-817C-8C7D-CF98-2AD066339D06}"/>
              </a:ext>
            </a:extLst>
          </p:cNvPr>
          <p:cNvSpPr>
            <a:spLocks noGrp="1"/>
          </p:cNvSpPr>
          <p:nvPr>
            <p:ph sz="half" idx="23" hasCustomPrompt="1"/>
          </p:nvPr>
        </p:nvSpPr>
        <p:spPr>
          <a:xfrm>
            <a:off x="6203950" y="1944000"/>
            <a:ext cx="2700337" cy="3693600"/>
          </a:xfrm>
          <a:prstGeom prst="roundRect">
            <a:avLst>
              <a:gd name="adj" fmla="val 2417"/>
            </a:avLst>
          </a:prstGeom>
          <a:solidFill>
            <a:schemeClr val="accent4"/>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500439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12" name="Content Placeholder 2">
            <a:extLst>
              <a:ext uri="{FF2B5EF4-FFF2-40B4-BE49-F238E27FC236}">
                <a16:creationId xmlns:a16="http://schemas.microsoft.com/office/drawing/2014/main" id="{058EA7ED-9CB2-0EAA-DC4A-681C6294E267}"/>
              </a:ext>
            </a:extLst>
          </p:cNvPr>
          <p:cNvSpPr>
            <a:spLocks noGrp="1"/>
          </p:cNvSpPr>
          <p:nvPr>
            <p:ph sz="half" idx="18" hasCustomPrompt="1"/>
          </p:nvPr>
        </p:nvSpPr>
        <p:spPr>
          <a:xfrm>
            <a:off x="2702738"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2">
            <a:extLst>
              <a:ext uri="{FF2B5EF4-FFF2-40B4-BE49-F238E27FC236}">
                <a16:creationId xmlns:a16="http://schemas.microsoft.com/office/drawing/2014/main" id="{A63176DC-6498-BAD7-D8DC-87B4DD4FF5D2}"/>
              </a:ext>
            </a:extLst>
          </p:cNvPr>
          <p:cNvSpPr>
            <a:spLocks noGrp="1"/>
          </p:cNvSpPr>
          <p:nvPr>
            <p:ph sz="half" idx="19" hasCustomPrompt="1"/>
          </p:nvPr>
        </p:nvSpPr>
        <p:spPr>
          <a:xfrm>
            <a:off x="5034000"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Content Placeholder 2">
            <a:extLst>
              <a:ext uri="{FF2B5EF4-FFF2-40B4-BE49-F238E27FC236}">
                <a16:creationId xmlns:a16="http://schemas.microsoft.com/office/drawing/2014/main" id="{784EE7DD-7E78-8C24-4172-F9299178B59C}"/>
              </a:ext>
            </a:extLst>
          </p:cNvPr>
          <p:cNvSpPr>
            <a:spLocks noGrp="1"/>
          </p:cNvSpPr>
          <p:nvPr>
            <p:ph sz="half" idx="20" hasCustomPrompt="1"/>
          </p:nvPr>
        </p:nvSpPr>
        <p:spPr>
          <a:xfrm>
            <a:off x="7365262"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Content Placeholder 2">
            <a:extLst>
              <a:ext uri="{FF2B5EF4-FFF2-40B4-BE49-F238E27FC236}">
                <a16:creationId xmlns:a16="http://schemas.microsoft.com/office/drawing/2014/main" id="{54EB7B39-185E-EBB0-274D-25CD6BFE9924}"/>
              </a:ext>
            </a:extLst>
          </p:cNvPr>
          <p:cNvSpPr>
            <a:spLocks noGrp="1"/>
          </p:cNvSpPr>
          <p:nvPr>
            <p:ph sz="half" idx="21" hasCustomPrompt="1"/>
          </p:nvPr>
        </p:nvSpPr>
        <p:spPr>
          <a:xfrm>
            <a:off x="9696525"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440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content colo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Content Placeholder 2">
            <a:extLst>
              <a:ext uri="{FF2B5EF4-FFF2-40B4-BE49-F238E27FC236}">
                <a16:creationId xmlns:a16="http://schemas.microsoft.com/office/drawing/2014/main" id="{C9905CD1-2289-BC8E-7167-9431CB287AD6}"/>
              </a:ext>
            </a:extLst>
          </p:cNvPr>
          <p:cNvSpPr>
            <a:spLocks noGrp="1"/>
          </p:cNvSpPr>
          <p:nvPr>
            <p:ph sz="half" idx="17" hasCustomPrompt="1"/>
          </p:nvPr>
        </p:nvSpPr>
        <p:spPr>
          <a:xfrm>
            <a:off x="371476"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Content Placeholder 2">
            <a:extLst>
              <a:ext uri="{FF2B5EF4-FFF2-40B4-BE49-F238E27FC236}">
                <a16:creationId xmlns:a16="http://schemas.microsoft.com/office/drawing/2014/main" id="{A07B574F-C504-CC34-1289-A25F2C77388A}"/>
              </a:ext>
            </a:extLst>
          </p:cNvPr>
          <p:cNvSpPr>
            <a:spLocks noGrp="1"/>
          </p:cNvSpPr>
          <p:nvPr>
            <p:ph sz="half" idx="22" hasCustomPrompt="1"/>
          </p:nvPr>
        </p:nvSpPr>
        <p:spPr>
          <a:xfrm>
            <a:off x="2702738" y="1944000"/>
            <a:ext cx="2124000" cy="3693600"/>
          </a:xfrm>
          <a:prstGeom prst="roundRect">
            <a:avLst>
              <a:gd name="adj" fmla="val 3325"/>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2">
            <a:extLst>
              <a:ext uri="{FF2B5EF4-FFF2-40B4-BE49-F238E27FC236}">
                <a16:creationId xmlns:a16="http://schemas.microsoft.com/office/drawing/2014/main" id="{1500C2E4-F956-B44E-B0DA-9523C63A745D}"/>
              </a:ext>
            </a:extLst>
          </p:cNvPr>
          <p:cNvSpPr>
            <a:spLocks noGrp="1"/>
          </p:cNvSpPr>
          <p:nvPr>
            <p:ph sz="half" idx="23" hasCustomPrompt="1"/>
          </p:nvPr>
        </p:nvSpPr>
        <p:spPr>
          <a:xfrm>
            <a:off x="5034000" y="1944000"/>
            <a:ext cx="2124000" cy="3693600"/>
          </a:xfrm>
          <a:prstGeom prst="roundRect">
            <a:avLst>
              <a:gd name="adj" fmla="val 3325"/>
            </a:avLst>
          </a:prstGeom>
          <a:solidFill>
            <a:schemeClr val="accent4"/>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Content Placeholder 2">
            <a:extLst>
              <a:ext uri="{FF2B5EF4-FFF2-40B4-BE49-F238E27FC236}">
                <a16:creationId xmlns:a16="http://schemas.microsoft.com/office/drawing/2014/main" id="{F5C379F4-79DE-99E0-3E9C-B7809BC02005}"/>
              </a:ext>
            </a:extLst>
          </p:cNvPr>
          <p:cNvSpPr>
            <a:spLocks noGrp="1"/>
          </p:cNvSpPr>
          <p:nvPr>
            <p:ph sz="half" idx="24" hasCustomPrompt="1"/>
          </p:nvPr>
        </p:nvSpPr>
        <p:spPr>
          <a:xfrm>
            <a:off x="7365262" y="1944000"/>
            <a:ext cx="2124000" cy="3693600"/>
          </a:xfrm>
          <a:prstGeom prst="roundRect">
            <a:avLst>
              <a:gd name="adj" fmla="val 3325"/>
            </a:avLst>
          </a:prstGeom>
          <a:solidFill>
            <a:schemeClr val="accent1"/>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Content Placeholder 2">
            <a:extLst>
              <a:ext uri="{FF2B5EF4-FFF2-40B4-BE49-F238E27FC236}">
                <a16:creationId xmlns:a16="http://schemas.microsoft.com/office/drawing/2014/main" id="{B0050AC2-985D-85FA-C022-CDD1E61B1B89}"/>
              </a:ext>
            </a:extLst>
          </p:cNvPr>
          <p:cNvSpPr>
            <a:spLocks noGrp="1"/>
          </p:cNvSpPr>
          <p:nvPr>
            <p:ph sz="half" idx="25" hasCustomPrompt="1"/>
          </p:nvPr>
        </p:nvSpPr>
        <p:spPr>
          <a:xfrm>
            <a:off x="9696525" y="1944000"/>
            <a:ext cx="2124000" cy="3693600"/>
          </a:xfrm>
          <a:prstGeom prst="roundRect">
            <a:avLst>
              <a:gd name="adj" fmla="val 3325"/>
            </a:avLst>
          </a:prstGeom>
          <a:solidFill>
            <a:schemeClr val="accent3"/>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93949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ent B">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71474" y="1501255"/>
            <a:ext cx="5616575"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03949" y="1501255"/>
            <a:ext cx="5616575"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371474" y="3678175"/>
            <a:ext cx="5616575"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9" name="Content Placeholder 3">
            <a:extLst>
              <a:ext uri="{FF2B5EF4-FFF2-40B4-BE49-F238E27FC236}">
                <a16:creationId xmlns:a16="http://schemas.microsoft.com/office/drawing/2014/main" id="{4F9FA52E-E6B6-497B-8CDF-4291B6C70B9B}"/>
              </a:ext>
            </a:extLst>
          </p:cNvPr>
          <p:cNvSpPr>
            <a:spLocks noGrp="1"/>
          </p:cNvSpPr>
          <p:nvPr>
            <p:ph sz="half" idx="17" hasCustomPrompt="1"/>
          </p:nvPr>
        </p:nvSpPr>
        <p:spPr>
          <a:xfrm>
            <a:off x="6203949" y="3678175"/>
            <a:ext cx="5616575"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a:extLst>
              <a:ext uri="{FF2B5EF4-FFF2-40B4-BE49-F238E27FC236}">
                <a16:creationId xmlns:a16="http://schemas.microsoft.com/office/drawing/2014/main" id="{0535A655-0007-42B8-9AAE-D572D30C69E7}"/>
              </a:ext>
            </a:extLst>
          </p:cNvPr>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pic>
        <p:nvPicPr>
          <p:cNvPr id="12" name="Picture 29">
            <a:extLst>
              <a:ext uri="{FF2B5EF4-FFF2-40B4-BE49-F238E27FC236}">
                <a16:creationId xmlns:a16="http://schemas.microsoft.com/office/drawing/2014/main" id="{A77C2106-8C21-6148-3B18-40EF51733D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5949061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On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371475" y="1944000"/>
            <a:ext cx="11449049" cy="3693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hidden="1">
            <a:extLst>
              <a:ext uri="{FF2B5EF4-FFF2-40B4-BE49-F238E27FC236}">
                <a16:creationId xmlns:a16="http://schemas.microsoft.com/office/drawing/2014/main" id="{C0878BA1-CFB4-4349-B120-1867D280A4EA}"/>
              </a:ext>
            </a:extLst>
          </p:cNvPr>
          <p:cNvSpPr>
            <a:spLocks noGrp="1"/>
          </p:cNvSpPr>
          <p:nvPr>
            <p:ph type="dt" sz="half" idx="10"/>
          </p:nvPr>
        </p:nvSpPr>
        <p:spPr/>
        <p:txBody>
          <a:bodyPr/>
          <a:lstStyle/>
          <a:p>
            <a:endParaRPr lang="en-GB" dirty="0"/>
          </a:p>
        </p:txBody>
      </p:sp>
      <p:pic>
        <p:nvPicPr>
          <p:cNvPr id="9" name="Picture 29">
            <a:extLst>
              <a:ext uri="{FF2B5EF4-FFF2-40B4-BE49-F238E27FC236}">
                <a16:creationId xmlns:a16="http://schemas.microsoft.com/office/drawing/2014/main" id="{A3CE622E-E06A-841D-06AC-9109FF66897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110994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49" cy="930275"/>
          </a:xfrm>
        </p:spPr>
        <p:txBody>
          <a:bodyPr/>
          <a:lstStyle>
            <a:lvl1pPr>
              <a:defRPr/>
            </a:lvl1pPr>
          </a:lstStyle>
          <a:p>
            <a:r>
              <a:rPr lang="en-GB" dirty="0"/>
              <a:t>Click to add title</a:t>
            </a:r>
          </a:p>
        </p:txBody>
      </p:sp>
      <p:sp>
        <p:nvSpPr>
          <p:cNvPr id="6" name="Date Placeholder 5" hidden="1">
            <a:extLst>
              <a:ext uri="{FF2B5EF4-FFF2-40B4-BE49-F238E27FC236}">
                <a16:creationId xmlns:a16="http://schemas.microsoft.com/office/drawing/2014/main" id="{C3750702-865E-424E-BDAE-F6B87694C5F2}"/>
              </a:ext>
            </a:extLst>
          </p:cNvPr>
          <p:cNvSpPr>
            <a:spLocks noGrp="1"/>
          </p:cNvSpPr>
          <p:nvPr>
            <p:ph type="dt" sz="half" idx="10"/>
          </p:nvPr>
        </p:nvSpPr>
        <p:spPr/>
        <p:txBody>
          <a:bodyPr/>
          <a:lstStyle/>
          <a:p>
            <a:endParaRPr lang="en-GB" dirty="0"/>
          </a:p>
        </p:txBody>
      </p:sp>
      <p:pic>
        <p:nvPicPr>
          <p:cNvPr id="3" name="Picture 29">
            <a:extLst>
              <a:ext uri="{FF2B5EF4-FFF2-40B4-BE49-F238E27FC236}">
                <a16:creationId xmlns:a16="http://schemas.microsoft.com/office/drawing/2014/main" id="{9D0A0F73-0A09-3F0F-CDE1-E6689518F54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7712826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CF0E3E31-9EAD-4ECD-A589-4F158B739B5B}"/>
              </a:ext>
            </a:extLst>
          </p:cNvPr>
          <p:cNvSpPr>
            <a:spLocks noGrp="1"/>
          </p:cNvSpPr>
          <p:nvPr>
            <p:ph type="dt" sz="half" idx="10"/>
          </p:nvPr>
        </p:nvSpPr>
        <p:spPr/>
        <p:txBody>
          <a:bodyPr/>
          <a:lstStyle/>
          <a:p>
            <a:endParaRPr lang="en-GB" dirty="0"/>
          </a:p>
        </p:txBody>
      </p:sp>
      <p:pic>
        <p:nvPicPr>
          <p:cNvPr id="4" name="Picture 29">
            <a:extLst>
              <a:ext uri="{FF2B5EF4-FFF2-40B4-BE49-F238E27FC236}">
                <a16:creationId xmlns:a16="http://schemas.microsoft.com/office/drawing/2014/main" id="{DE5828A2-B47C-267D-D7C3-E051EF0B36F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40100585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7187" y="4308475"/>
            <a:ext cx="11463338" cy="1318735"/>
          </a:xfrm>
        </p:spPr>
        <p:txBody>
          <a:bodyPr/>
          <a:lstStyle>
            <a:lvl1pPr>
              <a:defRPr sz="4000" b="0">
                <a:solidFill>
                  <a:schemeClr val="bg1"/>
                </a:solidFill>
                <a:latin typeface="+mj-lt"/>
              </a:defRPr>
            </a:lvl1pPr>
          </a:lstStyle>
          <a:p>
            <a:r>
              <a:rPr lang="en-GB" noProof="0" dirty="0"/>
              <a:t>Click to add title</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7" name="Slide Number Placeholder 8">
            <a:extLst>
              <a:ext uri="{FF2B5EF4-FFF2-40B4-BE49-F238E27FC236}">
                <a16:creationId xmlns:a16="http://schemas.microsoft.com/office/drawing/2014/main" id="{A023E4A0-CC5F-2BD8-6C4E-35C57DD5602D}"/>
              </a:ext>
            </a:extLst>
          </p:cNvPr>
          <p:cNvSpPr txBox="1">
            <a:spLocks/>
          </p:cNvSpPr>
          <p:nvPr userDrawn="1"/>
        </p:nvSpPr>
        <p:spPr>
          <a:xfrm>
            <a:off x="11408486" y="6404482"/>
            <a:ext cx="412039" cy="185426"/>
          </a:xfrm>
          <a:prstGeom prst="rect">
            <a:avLst/>
          </a:prstGeom>
        </p:spPr>
        <p:txBody>
          <a:bodyPr vert="horz" wrap="none" lIns="0" tIns="0" rIns="0" bIns="0" rtlCol="0" anchor="t"/>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3A204BC-C5BA-4EF4-ABC8-D45123A0C528}" type="slidenum">
              <a:rPr lang="en-GB" smtClean="0">
                <a:solidFill>
                  <a:schemeClr val="bg1"/>
                </a:solidFill>
              </a:rPr>
              <a:pPr/>
              <a:t>‹#›</a:t>
            </a:fld>
            <a:endParaRPr lang="en-GB" dirty="0">
              <a:solidFill>
                <a:schemeClr val="bg1"/>
              </a:solidFill>
            </a:endParaRPr>
          </a:p>
        </p:txBody>
      </p:sp>
      <p:pic>
        <p:nvPicPr>
          <p:cNvPr id="8" name="Picture 29">
            <a:extLst>
              <a:ext uri="{FF2B5EF4-FFF2-40B4-BE49-F238E27FC236}">
                <a16:creationId xmlns:a16="http://schemas.microsoft.com/office/drawing/2014/main" id="{B56D96C1-A121-5DD2-9108-A31580A838E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5850"/>
            <a:ext cx="1299398" cy="320400"/>
          </a:xfrm>
          <a:prstGeom prst="rect">
            <a:avLst/>
          </a:prstGeom>
        </p:spPr>
      </p:pic>
    </p:spTree>
    <p:extLst>
      <p:ext uri="{BB962C8B-B14F-4D97-AF65-F5344CB8AC3E}">
        <p14:creationId xmlns:p14="http://schemas.microsoft.com/office/powerpoint/2010/main" val="10933590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D">
    <p:bg>
      <p:bgPr>
        <a:solidFill>
          <a:schemeClr val="bg1"/>
        </a:solid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2E8F0CCD-13ED-0EE3-3B03-3E5899CC73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4650" y="6075701"/>
            <a:ext cx="1853056" cy="413999"/>
          </a:xfrm>
          <a:prstGeom prst="rect">
            <a:avLst/>
          </a:prstGeom>
        </p:spPr>
      </p:pic>
      <p:pic>
        <p:nvPicPr>
          <p:cNvPr id="4" name="Graphic 3">
            <a:extLst>
              <a:ext uri="{FF2B5EF4-FFF2-40B4-BE49-F238E27FC236}">
                <a16:creationId xmlns:a16="http://schemas.microsoft.com/office/drawing/2014/main" id="{7CBE64CD-AD7A-FBDE-6068-9A34E97C021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289090" y="6188152"/>
            <a:ext cx="1531435" cy="180000"/>
          </a:xfrm>
          <a:prstGeom prst="rect">
            <a:avLst/>
          </a:prstGeom>
        </p:spPr>
      </p:pic>
      <p:sp>
        <p:nvSpPr>
          <p:cNvPr id="21" name="Freeform 20">
            <a:extLst>
              <a:ext uri="{FF2B5EF4-FFF2-40B4-BE49-F238E27FC236}">
                <a16:creationId xmlns:a16="http://schemas.microsoft.com/office/drawing/2014/main" id="{23333BE9-BDFC-E99A-B635-C5AD934F45C8}"/>
              </a:ext>
            </a:extLst>
          </p:cNvPr>
          <p:cNvSpPr/>
          <p:nvPr userDrawn="1"/>
        </p:nvSpPr>
        <p:spPr>
          <a:xfrm>
            <a:off x="2854358" y="-3600"/>
            <a:ext cx="6426962" cy="6861600"/>
          </a:xfrm>
          <a:custGeom>
            <a:avLst/>
            <a:gdLst>
              <a:gd name="connsiteX0" fmla="*/ 0 w 6426962"/>
              <a:gd name="connsiteY0" fmla="*/ 0 h 6858000"/>
              <a:gd name="connsiteX1" fmla="*/ 4457700 w 6426962"/>
              <a:gd name="connsiteY1" fmla="*/ 0 h 6858000"/>
              <a:gd name="connsiteX2" fmla="*/ 4457700 w 6426962"/>
              <a:gd name="connsiteY2" fmla="*/ 0 h 6858000"/>
              <a:gd name="connsiteX3" fmla="*/ 6426962 w 6426962"/>
              <a:gd name="connsiteY3" fmla="*/ 0 h 6858000"/>
              <a:gd name="connsiteX4" fmla="*/ 6426962 w 6426962"/>
              <a:gd name="connsiteY4" fmla="*/ 4789046 h 6858000"/>
              <a:gd name="connsiteX5" fmla="*/ 6426962 w 6426962"/>
              <a:gd name="connsiteY5" fmla="*/ 4902200 h 6858000"/>
              <a:gd name="connsiteX6" fmla="*/ 6426962 w 6426962"/>
              <a:gd name="connsiteY6" fmla="*/ 6010018 h 6858000"/>
              <a:gd name="connsiteX7" fmla="*/ 5578980 w 6426962"/>
              <a:gd name="connsiteY7" fmla="*/ 6858000 h 6858000"/>
              <a:gd name="connsiteX8" fmla="*/ 4457700 w 6426962"/>
              <a:gd name="connsiteY8" fmla="*/ 6858000 h 6858000"/>
              <a:gd name="connsiteX9" fmla="*/ 4048382 w 6426962"/>
              <a:gd name="connsiteY9" fmla="*/ 6858000 h 6858000"/>
              <a:gd name="connsiteX10" fmla="*/ 0 w 6426962"/>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6962" h="6858000">
                <a:moveTo>
                  <a:pt x="0" y="0"/>
                </a:moveTo>
                <a:lnTo>
                  <a:pt x="4457700" y="0"/>
                </a:lnTo>
                <a:lnTo>
                  <a:pt x="4457700" y="0"/>
                </a:lnTo>
                <a:lnTo>
                  <a:pt x="6426962" y="0"/>
                </a:lnTo>
                <a:lnTo>
                  <a:pt x="6426962" y="4789046"/>
                </a:lnTo>
                <a:lnTo>
                  <a:pt x="6426962" y="4902200"/>
                </a:lnTo>
                <a:lnTo>
                  <a:pt x="6426962" y="6010018"/>
                </a:lnTo>
                <a:cubicBezTo>
                  <a:pt x="6426962" y="6478346"/>
                  <a:pt x="6047308" y="6858000"/>
                  <a:pt x="5578980" y="6858000"/>
                </a:cubicBezTo>
                <a:lnTo>
                  <a:pt x="4457700" y="6858000"/>
                </a:lnTo>
                <a:lnTo>
                  <a:pt x="4048382"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p>
        </p:txBody>
      </p:sp>
      <p:sp>
        <p:nvSpPr>
          <p:cNvPr id="35" name="Picture Placeholder 34">
            <a:extLst>
              <a:ext uri="{FF2B5EF4-FFF2-40B4-BE49-F238E27FC236}">
                <a16:creationId xmlns:a16="http://schemas.microsoft.com/office/drawing/2014/main" id="{89AC51BB-264A-1609-8951-4D9DDFC3BE77}"/>
              </a:ext>
            </a:extLst>
          </p:cNvPr>
          <p:cNvSpPr>
            <a:spLocks noGrp="1"/>
          </p:cNvSpPr>
          <p:nvPr>
            <p:ph type="pic" sz="quarter" idx="13" hasCustomPrompt="1"/>
          </p:nvPr>
        </p:nvSpPr>
        <p:spPr>
          <a:xfrm>
            <a:off x="0" y="-3600"/>
            <a:ext cx="8911685" cy="6861600"/>
          </a:xfrm>
          <a:custGeom>
            <a:avLst/>
            <a:gdLst>
              <a:gd name="connsiteX0" fmla="*/ 1657413 w 8911685"/>
              <a:gd name="connsiteY0" fmla="*/ 6230260 h 6861600"/>
              <a:gd name="connsiteX1" fmla="*/ 1747724 w 8911685"/>
              <a:gd name="connsiteY1" fmla="*/ 6230260 h 6861600"/>
              <a:gd name="connsiteX2" fmla="*/ 1747724 w 8911685"/>
              <a:gd name="connsiteY2" fmla="*/ 6278123 h 6861600"/>
              <a:gd name="connsiteX3" fmla="*/ 1657413 w 8911685"/>
              <a:gd name="connsiteY3" fmla="*/ 6278123 h 6861600"/>
              <a:gd name="connsiteX4" fmla="*/ 1280903 w 8911685"/>
              <a:gd name="connsiteY4" fmla="*/ 6228345 h 6861600"/>
              <a:gd name="connsiteX5" fmla="*/ 1312703 w 8911685"/>
              <a:gd name="connsiteY5" fmla="*/ 6306841 h 6861600"/>
              <a:gd name="connsiteX6" fmla="*/ 1249104 w 8911685"/>
              <a:gd name="connsiteY6" fmla="*/ 6306841 h 6861600"/>
              <a:gd name="connsiteX7" fmla="*/ 2035831 w 8911685"/>
              <a:gd name="connsiteY7" fmla="*/ 6194522 h 6861600"/>
              <a:gd name="connsiteX8" fmla="*/ 2035831 w 8911685"/>
              <a:gd name="connsiteY8" fmla="*/ 6377678 h 6861600"/>
              <a:gd name="connsiteX9" fmla="*/ 2079715 w 8911685"/>
              <a:gd name="connsiteY9" fmla="*/ 6377678 h 6861600"/>
              <a:gd name="connsiteX10" fmla="*/ 2079715 w 8911685"/>
              <a:gd name="connsiteY10" fmla="*/ 6293439 h 6861600"/>
              <a:gd name="connsiteX11" fmla="*/ 2162394 w 8911685"/>
              <a:gd name="connsiteY11" fmla="*/ 6377678 h 6861600"/>
              <a:gd name="connsiteX12" fmla="*/ 2222814 w 8911685"/>
              <a:gd name="connsiteY12" fmla="*/ 6377678 h 6861600"/>
              <a:gd name="connsiteX13" fmla="*/ 2122963 w 8911685"/>
              <a:gd name="connsiteY13" fmla="*/ 6280037 h 6861600"/>
              <a:gd name="connsiteX14" fmla="*/ 2218998 w 8911685"/>
              <a:gd name="connsiteY14" fmla="*/ 6194522 h 6861600"/>
              <a:gd name="connsiteX15" fmla="*/ 2160486 w 8911685"/>
              <a:gd name="connsiteY15" fmla="*/ 6194522 h 6861600"/>
              <a:gd name="connsiteX16" fmla="*/ 2079715 w 8911685"/>
              <a:gd name="connsiteY16" fmla="*/ 6268550 h 6861600"/>
              <a:gd name="connsiteX17" fmla="*/ 2079715 w 8911685"/>
              <a:gd name="connsiteY17" fmla="*/ 6194522 h 6861600"/>
              <a:gd name="connsiteX18" fmla="*/ 1614165 w 8911685"/>
              <a:gd name="connsiteY18" fmla="*/ 6194522 h 6861600"/>
              <a:gd name="connsiteX19" fmla="*/ 1614165 w 8911685"/>
              <a:gd name="connsiteY19" fmla="*/ 6377678 h 6861600"/>
              <a:gd name="connsiteX20" fmla="*/ 1657413 w 8911685"/>
              <a:gd name="connsiteY20" fmla="*/ 6377678 h 6861600"/>
              <a:gd name="connsiteX21" fmla="*/ 1657413 w 8911685"/>
              <a:gd name="connsiteY21" fmla="*/ 6314499 h 6861600"/>
              <a:gd name="connsiteX22" fmla="*/ 1704477 w 8911685"/>
              <a:gd name="connsiteY22" fmla="*/ 6314499 h 6861600"/>
              <a:gd name="connsiteX23" fmla="*/ 1743908 w 8911685"/>
              <a:gd name="connsiteY23" fmla="*/ 6377678 h 6861600"/>
              <a:gd name="connsiteX24" fmla="*/ 1790972 w 8911685"/>
              <a:gd name="connsiteY24" fmla="*/ 6377678 h 6861600"/>
              <a:gd name="connsiteX25" fmla="*/ 1749632 w 8911685"/>
              <a:gd name="connsiteY25" fmla="*/ 6314499 h 6861600"/>
              <a:gd name="connsiteX26" fmla="*/ 1753448 w 8911685"/>
              <a:gd name="connsiteY26" fmla="*/ 6314499 h 6861600"/>
              <a:gd name="connsiteX27" fmla="*/ 1789064 w 8911685"/>
              <a:gd name="connsiteY27" fmla="*/ 6285781 h 6861600"/>
              <a:gd name="connsiteX28" fmla="*/ 1789064 w 8911685"/>
              <a:gd name="connsiteY28" fmla="*/ 6225154 h 6861600"/>
              <a:gd name="connsiteX29" fmla="*/ 1759172 w 8911685"/>
              <a:gd name="connsiteY29" fmla="*/ 6194522 h 6861600"/>
              <a:gd name="connsiteX30" fmla="*/ 1408738 w 8911685"/>
              <a:gd name="connsiteY30" fmla="*/ 6194522 h 6861600"/>
              <a:gd name="connsiteX31" fmla="*/ 1408738 w 8911685"/>
              <a:gd name="connsiteY31" fmla="*/ 6377678 h 6861600"/>
              <a:gd name="connsiteX32" fmla="*/ 1582365 w 8911685"/>
              <a:gd name="connsiteY32" fmla="*/ 6377678 h 6861600"/>
              <a:gd name="connsiteX33" fmla="*/ 1582365 w 8911685"/>
              <a:gd name="connsiteY33" fmla="*/ 6341302 h 6861600"/>
              <a:gd name="connsiteX34" fmla="*/ 1450078 w 8911685"/>
              <a:gd name="connsiteY34" fmla="*/ 6341302 h 6861600"/>
              <a:gd name="connsiteX35" fmla="*/ 1450078 w 8911685"/>
              <a:gd name="connsiteY35" fmla="*/ 6303012 h 6861600"/>
              <a:gd name="connsiteX36" fmla="*/ 1563285 w 8911685"/>
              <a:gd name="connsiteY36" fmla="*/ 6303012 h 6861600"/>
              <a:gd name="connsiteX37" fmla="*/ 1563285 w 8911685"/>
              <a:gd name="connsiteY37" fmla="*/ 6266636 h 6861600"/>
              <a:gd name="connsiteX38" fmla="*/ 1450078 w 8911685"/>
              <a:gd name="connsiteY38" fmla="*/ 6266636 h 6861600"/>
              <a:gd name="connsiteX39" fmla="*/ 1450078 w 8911685"/>
              <a:gd name="connsiteY39" fmla="*/ 6230260 h 6861600"/>
              <a:gd name="connsiteX40" fmla="*/ 1580457 w 8911685"/>
              <a:gd name="connsiteY40" fmla="*/ 6230260 h 6861600"/>
              <a:gd name="connsiteX41" fmla="*/ 1580457 w 8911685"/>
              <a:gd name="connsiteY41" fmla="*/ 6194522 h 6861600"/>
              <a:gd name="connsiteX42" fmla="*/ 1252284 w 8911685"/>
              <a:gd name="connsiteY42" fmla="*/ 6194522 h 6861600"/>
              <a:gd name="connsiteX43" fmla="*/ 1171512 w 8911685"/>
              <a:gd name="connsiteY43" fmla="*/ 6377678 h 6861600"/>
              <a:gd name="connsiteX44" fmla="*/ 1218576 w 8911685"/>
              <a:gd name="connsiteY44" fmla="*/ 6377678 h 6861600"/>
              <a:gd name="connsiteX45" fmla="*/ 1233840 w 8911685"/>
              <a:gd name="connsiteY45" fmla="*/ 6341302 h 6861600"/>
              <a:gd name="connsiteX46" fmla="*/ 1327967 w 8911685"/>
              <a:gd name="connsiteY46" fmla="*/ 6341302 h 6861600"/>
              <a:gd name="connsiteX47" fmla="*/ 1345139 w 8911685"/>
              <a:gd name="connsiteY47" fmla="*/ 6377678 h 6861600"/>
              <a:gd name="connsiteX48" fmla="*/ 1390295 w 8911685"/>
              <a:gd name="connsiteY48" fmla="*/ 6377678 h 6861600"/>
              <a:gd name="connsiteX49" fmla="*/ 1308887 w 8911685"/>
              <a:gd name="connsiteY49" fmla="*/ 6194522 h 6861600"/>
              <a:gd name="connsiteX50" fmla="*/ 940009 w 8911685"/>
              <a:gd name="connsiteY50" fmla="*/ 6194522 h 6861600"/>
              <a:gd name="connsiteX51" fmla="*/ 940009 w 8911685"/>
              <a:gd name="connsiteY51" fmla="*/ 6377678 h 6861600"/>
              <a:gd name="connsiteX52" fmla="*/ 979441 w 8911685"/>
              <a:gd name="connsiteY52" fmla="*/ 6377678 h 6861600"/>
              <a:gd name="connsiteX53" fmla="*/ 979441 w 8911685"/>
              <a:gd name="connsiteY53" fmla="*/ 6272379 h 6861600"/>
              <a:gd name="connsiteX54" fmla="*/ 1026505 w 8911685"/>
              <a:gd name="connsiteY54" fmla="*/ 6377678 h 6861600"/>
              <a:gd name="connsiteX55" fmla="*/ 1067844 w 8911685"/>
              <a:gd name="connsiteY55" fmla="*/ 6377678 h 6861600"/>
              <a:gd name="connsiteX56" fmla="*/ 1114908 w 8911685"/>
              <a:gd name="connsiteY56" fmla="*/ 6270465 h 6861600"/>
              <a:gd name="connsiteX57" fmla="*/ 1114908 w 8911685"/>
              <a:gd name="connsiteY57" fmla="*/ 6377678 h 6861600"/>
              <a:gd name="connsiteX58" fmla="*/ 1154340 w 8911685"/>
              <a:gd name="connsiteY58" fmla="*/ 6377678 h 6861600"/>
              <a:gd name="connsiteX59" fmla="*/ 1154340 w 8911685"/>
              <a:gd name="connsiteY59" fmla="*/ 6194522 h 6861600"/>
              <a:gd name="connsiteX60" fmla="*/ 1107276 w 8911685"/>
              <a:gd name="connsiteY60" fmla="*/ 6194522 h 6861600"/>
              <a:gd name="connsiteX61" fmla="*/ 1046857 w 8911685"/>
              <a:gd name="connsiteY61" fmla="*/ 6331730 h 6861600"/>
              <a:gd name="connsiteX62" fmla="*/ 987073 w 8911685"/>
              <a:gd name="connsiteY62" fmla="*/ 6194522 h 6861600"/>
              <a:gd name="connsiteX63" fmla="*/ 1853300 w 8911685"/>
              <a:gd name="connsiteY63" fmla="*/ 6193884 h 6861600"/>
              <a:gd name="connsiteX64" fmla="*/ 1825316 w 8911685"/>
              <a:gd name="connsiteY64" fmla="*/ 6222602 h 6861600"/>
              <a:gd name="connsiteX65" fmla="*/ 1825316 w 8911685"/>
              <a:gd name="connsiteY65" fmla="*/ 6276209 h 6861600"/>
              <a:gd name="connsiteX66" fmla="*/ 1853300 w 8911685"/>
              <a:gd name="connsiteY66" fmla="*/ 6303012 h 6861600"/>
              <a:gd name="connsiteX67" fmla="*/ 1955059 w 8911685"/>
              <a:gd name="connsiteY67" fmla="*/ 6303012 h 6861600"/>
              <a:gd name="connsiteX68" fmla="*/ 1955059 w 8911685"/>
              <a:gd name="connsiteY68" fmla="*/ 6341302 h 6861600"/>
              <a:gd name="connsiteX69" fmla="*/ 1866656 w 8911685"/>
              <a:gd name="connsiteY69" fmla="*/ 6341302 h 6861600"/>
              <a:gd name="connsiteX70" fmla="*/ 1866656 w 8911685"/>
              <a:gd name="connsiteY70" fmla="*/ 6327901 h 6861600"/>
              <a:gd name="connsiteX71" fmla="*/ 1823408 w 8911685"/>
              <a:gd name="connsiteY71" fmla="*/ 6327901 h 6861600"/>
              <a:gd name="connsiteX72" fmla="*/ 1823408 w 8911685"/>
              <a:gd name="connsiteY72" fmla="*/ 6350875 h 6861600"/>
              <a:gd name="connsiteX73" fmla="*/ 1851392 w 8911685"/>
              <a:gd name="connsiteY73" fmla="*/ 6377678 h 6861600"/>
              <a:gd name="connsiteX74" fmla="*/ 1866656 w 8911685"/>
              <a:gd name="connsiteY74" fmla="*/ 6377678 h 6861600"/>
              <a:gd name="connsiteX75" fmla="*/ 1968415 w 8911685"/>
              <a:gd name="connsiteY75" fmla="*/ 6377678 h 6861600"/>
              <a:gd name="connsiteX76" fmla="*/ 1996399 w 8911685"/>
              <a:gd name="connsiteY76" fmla="*/ 6348961 h 6861600"/>
              <a:gd name="connsiteX77" fmla="*/ 1996399 w 8911685"/>
              <a:gd name="connsiteY77" fmla="*/ 6297268 h 6861600"/>
              <a:gd name="connsiteX78" fmla="*/ 1968415 w 8911685"/>
              <a:gd name="connsiteY78" fmla="*/ 6266636 h 6861600"/>
              <a:gd name="connsiteX79" fmla="*/ 1866656 w 8911685"/>
              <a:gd name="connsiteY79" fmla="*/ 6266636 h 6861600"/>
              <a:gd name="connsiteX80" fmla="*/ 1866656 w 8911685"/>
              <a:gd name="connsiteY80" fmla="*/ 6230260 h 6861600"/>
              <a:gd name="connsiteX81" fmla="*/ 1955059 w 8911685"/>
              <a:gd name="connsiteY81" fmla="*/ 6230260 h 6861600"/>
              <a:gd name="connsiteX82" fmla="*/ 1955059 w 8911685"/>
              <a:gd name="connsiteY82" fmla="*/ 6245576 h 6861600"/>
              <a:gd name="connsiteX83" fmla="*/ 1996399 w 8911685"/>
              <a:gd name="connsiteY83" fmla="*/ 6245576 h 6861600"/>
              <a:gd name="connsiteX84" fmla="*/ 1996399 w 8911685"/>
              <a:gd name="connsiteY84" fmla="*/ 6224516 h 6861600"/>
              <a:gd name="connsiteX85" fmla="*/ 1970323 w 8911685"/>
              <a:gd name="connsiteY85" fmla="*/ 6193884 h 6861600"/>
              <a:gd name="connsiteX86" fmla="*/ 423579 w 8911685"/>
              <a:gd name="connsiteY86" fmla="*/ 6077736 h 6861600"/>
              <a:gd name="connsiteX87" fmla="*/ 378423 w 8911685"/>
              <a:gd name="connsiteY87" fmla="*/ 6125599 h 6861600"/>
              <a:gd name="connsiteX88" fmla="*/ 378423 w 8911685"/>
              <a:gd name="connsiteY88" fmla="*/ 6446601 h 6861600"/>
              <a:gd name="connsiteX89" fmla="*/ 423579 w 8911685"/>
              <a:gd name="connsiteY89" fmla="*/ 6494464 h 6861600"/>
              <a:gd name="connsiteX90" fmla="*/ 719317 w 8911685"/>
              <a:gd name="connsiteY90" fmla="*/ 6494464 h 6861600"/>
              <a:gd name="connsiteX91" fmla="*/ 766381 w 8911685"/>
              <a:gd name="connsiteY91" fmla="*/ 6446601 h 6861600"/>
              <a:gd name="connsiteX92" fmla="*/ 766381 w 8911685"/>
              <a:gd name="connsiteY92" fmla="*/ 6125599 h 6861600"/>
              <a:gd name="connsiteX93" fmla="*/ 719317 w 8911685"/>
              <a:gd name="connsiteY93" fmla="*/ 6077736 h 6861600"/>
              <a:gd name="connsiteX94" fmla="*/ 0 w 8911685"/>
              <a:gd name="connsiteY94" fmla="*/ 0 h 6861600"/>
              <a:gd name="connsiteX95" fmla="*/ 8911685 w 8911685"/>
              <a:gd name="connsiteY95" fmla="*/ 3551 h 6861600"/>
              <a:gd name="connsiteX96" fmla="*/ 8911685 w 8911685"/>
              <a:gd name="connsiteY96" fmla="*/ 6021290 h 6861600"/>
              <a:gd name="connsiteX97" fmla="*/ 8157291 w 8911685"/>
              <a:gd name="connsiteY97" fmla="*/ 6857262 h 6861600"/>
              <a:gd name="connsiteX98" fmla="*/ 8071384 w 8911685"/>
              <a:gd name="connsiteY98" fmla="*/ 6861600 h 6861600"/>
              <a:gd name="connsiteX99" fmla="*/ 0 w 8911685"/>
              <a:gd name="connsiteY99"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8911685" h="6861600">
                <a:moveTo>
                  <a:pt x="1657413" y="6230260"/>
                </a:moveTo>
                <a:lnTo>
                  <a:pt x="1747724" y="6230260"/>
                </a:lnTo>
                <a:lnTo>
                  <a:pt x="1747724" y="6278123"/>
                </a:lnTo>
                <a:lnTo>
                  <a:pt x="1657413" y="6278123"/>
                </a:lnTo>
                <a:close/>
                <a:moveTo>
                  <a:pt x="1280903" y="6228345"/>
                </a:moveTo>
                <a:lnTo>
                  <a:pt x="1312703" y="6306841"/>
                </a:lnTo>
                <a:lnTo>
                  <a:pt x="1249104" y="6306841"/>
                </a:lnTo>
                <a:close/>
                <a:moveTo>
                  <a:pt x="2035831" y="6194522"/>
                </a:moveTo>
                <a:lnTo>
                  <a:pt x="2035831" y="6377678"/>
                </a:lnTo>
                <a:lnTo>
                  <a:pt x="2079715" y="6377678"/>
                </a:lnTo>
                <a:lnTo>
                  <a:pt x="2079715" y="6293439"/>
                </a:lnTo>
                <a:lnTo>
                  <a:pt x="2162394" y="6377678"/>
                </a:lnTo>
                <a:lnTo>
                  <a:pt x="2222814" y="6377678"/>
                </a:lnTo>
                <a:lnTo>
                  <a:pt x="2122963" y="6280037"/>
                </a:lnTo>
                <a:lnTo>
                  <a:pt x="2218998" y="6194522"/>
                </a:lnTo>
                <a:lnTo>
                  <a:pt x="2160486" y="6194522"/>
                </a:lnTo>
                <a:lnTo>
                  <a:pt x="2079715" y="6268550"/>
                </a:lnTo>
                <a:lnTo>
                  <a:pt x="2079715" y="6194522"/>
                </a:lnTo>
                <a:close/>
                <a:moveTo>
                  <a:pt x="1614165" y="6194522"/>
                </a:moveTo>
                <a:lnTo>
                  <a:pt x="1614165" y="6377678"/>
                </a:lnTo>
                <a:lnTo>
                  <a:pt x="1657413" y="6377678"/>
                </a:lnTo>
                <a:lnTo>
                  <a:pt x="1657413" y="6314499"/>
                </a:lnTo>
                <a:lnTo>
                  <a:pt x="1704477" y="6314499"/>
                </a:lnTo>
                <a:lnTo>
                  <a:pt x="1743908" y="6377678"/>
                </a:lnTo>
                <a:lnTo>
                  <a:pt x="1790972" y="6377678"/>
                </a:lnTo>
                <a:lnTo>
                  <a:pt x="1749632" y="6314499"/>
                </a:lnTo>
                <a:lnTo>
                  <a:pt x="1753448" y="6314499"/>
                </a:lnTo>
                <a:cubicBezTo>
                  <a:pt x="1777616" y="6314499"/>
                  <a:pt x="1789064" y="6301097"/>
                  <a:pt x="1789064" y="6285781"/>
                </a:cubicBezTo>
                <a:lnTo>
                  <a:pt x="1789064" y="6225154"/>
                </a:lnTo>
                <a:cubicBezTo>
                  <a:pt x="1789064" y="6206009"/>
                  <a:pt x="1777616" y="6194522"/>
                  <a:pt x="1759172" y="6194522"/>
                </a:cubicBezTo>
                <a:close/>
                <a:moveTo>
                  <a:pt x="1408738" y="6194522"/>
                </a:moveTo>
                <a:lnTo>
                  <a:pt x="1408738" y="6377678"/>
                </a:lnTo>
                <a:lnTo>
                  <a:pt x="1582365" y="6377678"/>
                </a:lnTo>
                <a:lnTo>
                  <a:pt x="1582365" y="6341302"/>
                </a:lnTo>
                <a:lnTo>
                  <a:pt x="1450078" y="6341302"/>
                </a:lnTo>
                <a:lnTo>
                  <a:pt x="1450078" y="6303012"/>
                </a:lnTo>
                <a:lnTo>
                  <a:pt x="1563285" y="6303012"/>
                </a:lnTo>
                <a:lnTo>
                  <a:pt x="1563285" y="6266636"/>
                </a:lnTo>
                <a:lnTo>
                  <a:pt x="1450078" y="6266636"/>
                </a:lnTo>
                <a:lnTo>
                  <a:pt x="1450078" y="6230260"/>
                </a:lnTo>
                <a:lnTo>
                  <a:pt x="1580457" y="6230260"/>
                </a:lnTo>
                <a:lnTo>
                  <a:pt x="1580457" y="6194522"/>
                </a:lnTo>
                <a:close/>
                <a:moveTo>
                  <a:pt x="1252284" y="6194522"/>
                </a:moveTo>
                <a:lnTo>
                  <a:pt x="1171512" y="6377678"/>
                </a:lnTo>
                <a:lnTo>
                  <a:pt x="1218576" y="6377678"/>
                </a:lnTo>
                <a:lnTo>
                  <a:pt x="1233840" y="6341302"/>
                </a:lnTo>
                <a:lnTo>
                  <a:pt x="1327967" y="6341302"/>
                </a:lnTo>
                <a:lnTo>
                  <a:pt x="1345139" y="6377678"/>
                </a:lnTo>
                <a:lnTo>
                  <a:pt x="1390295" y="6377678"/>
                </a:lnTo>
                <a:lnTo>
                  <a:pt x="1308887" y="6194522"/>
                </a:lnTo>
                <a:close/>
                <a:moveTo>
                  <a:pt x="940009" y="6194522"/>
                </a:moveTo>
                <a:lnTo>
                  <a:pt x="940009" y="6377678"/>
                </a:lnTo>
                <a:lnTo>
                  <a:pt x="979441" y="6377678"/>
                </a:lnTo>
                <a:lnTo>
                  <a:pt x="979441" y="6272379"/>
                </a:lnTo>
                <a:lnTo>
                  <a:pt x="1026505" y="6377678"/>
                </a:lnTo>
                <a:lnTo>
                  <a:pt x="1067844" y="6377678"/>
                </a:lnTo>
                <a:lnTo>
                  <a:pt x="1114908" y="6270465"/>
                </a:lnTo>
                <a:lnTo>
                  <a:pt x="1114908" y="6377678"/>
                </a:lnTo>
                <a:lnTo>
                  <a:pt x="1154340" y="6377678"/>
                </a:lnTo>
                <a:lnTo>
                  <a:pt x="1154340" y="6194522"/>
                </a:lnTo>
                <a:lnTo>
                  <a:pt x="1107276" y="6194522"/>
                </a:lnTo>
                <a:lnTo>
                  <a:pt x="1046857" y="6331730"/>
                </a:lnTo>
                <a:lnTo>
                  <a:pt x="987073" y="6194522"/>
                </a:lnTo>
                <a:close/>
                <a:moveTo>
                  <a:pt x="1853300" y="6193884"/>
                </a:moveTo>
                <a:cubicBezTo>
                  <a:pt x="1838672" y="6193884"/>
                  <a:pt x="1825316" y="6205371"/>
                  <a:pt x="1825316" y="6222602"/>
                </a:cubicBezTo>
                <a:lnTo>
                  <a:pt x="1825316" y="6276209"/>
                </a:lnTo>
                <a:cubicBezTo>
                  <a:pt x="1825316" y="6291525"/>
                  <a:pt x="1836128" y="6303012"/>
                  <a:pt x="1853300" y="6303012"/>
                </a:cubicBezTo>
                <a:lnTo>
                  <a:pt x="1955059" y="6303012"/>
                </a:lnTo>
                <a:lnTo>
                  <a:pt x="1955059" y="6341302"/>
                </a:lnTo>
                <a:lnTo>
                  <a:pt x="1866656" y="6341302"/>
                </a:lnTo>
                <a:lnTo>
                  <a:pt x="1866656" y="6327901"/>
                </a:lnTo>
                <a:lnTo>
                  <a:pt x="1823408" y="6327901"/>
                </a:lnTo>
                <a:lnTo>
                  <a:pt x="1823408" y="6350875"/>
                </a:lnTo>
                <a:cubicBezTo>
                  <a:pt x="1823408" y="6366191"/>
                  <a:pt x="1832312" y="6377678"/>
                  <a:pt x="1851392" y="6377678"/>
                </a:cubicBezTo>
                <a:lnTo>
                  <a:pt x="1866656" y="6377678"/>
                </a:lnTo>
                <a:lnTo>
                  <a:pt x="1968415" y="6377678"/>
                </a:lnTo>
                <a:cubicBezTo>
                  <a:pt x="1986859" y="6377678"/>
                  <a:pt x="1996399" y="6366191"/>
                  <a:pt x="1996399" y="6348961"/>
                </a:cubicBezTo>
                <a:lnTo>
                  <a:pt x="1996399" y="6297268"/>
                </a:lnTo>
                <a:cubicBezTo>
                  <a:pt x="1996399" y="6278123"/>
                  <a:pt x="1983679" y="6266636"/>
                  <a:pt x="1968415" y="6266636"/>
                </a:cubicBezTo>
                <a:lnTo>
                  <a:pt x="1866656" y="6266636"/>
                </a:lnTo>
                <a:lnTo>
                  <a:pt x="1866656" y="6230260"/>
                </a:lnTo>
                <a:lnTo>
                  <a:pt x="1955059" y="6230260"/>
                </a:lnTo>
                <a:lnTo>
                  <a:pt x="1955059" y="6245576"/>
                </a:lnTo>
                <a:lnTo>
                  <a:pt x="1996399" y="6245576"/>
                </a:lnTo>
                <a:lnTo>
                  <a:pt x="1996399" y="6224516"/>
                </a:lnTo>
                <a:cubicBezTo>
                  <a:pt x="1996399" y="6205371"/>
                  <a:pt x="1985587" y="6193884"/>
                  <a:pt x="1970323" y="6193884"/>
                </a:cubicBezTo>
                <a:close/>
                <a:moveTo>
                  <a:pt x="423579" y="6077736"/>
                </a:moveTo>
                <a:cubicBezTo>
                  <a:pt x="399411" y="6077736"/>
                  <a:pt x="378423" y="6098796"/>
                  <a:pt x="378423" y="6125599"/>
                </a:cubicBezTo>
                <a:lnTo>
                  <a:pt x="378423" y="6446601"/>
                </a:lnTo>
                <a:cubicBezTo>
                  <a:pt x="378423" y="6473405"/>
                  <a:pt x="399411" y="6494464"/>
                  <a:pt x="423579" y="6494464"/>
                </a:cubicBezTo>
                <a:lnTo>
                  <a:pt x="719317" y="6494464"/>
                </a:lnTo>
                <a:cubicBezTo>
                  <a:pt x="745393" y="6494464"/>
                  <a:pt x="766381" y="6473405"/>
                  <a:pt x="766381" y="6446601"/>
                </a:cubicBezTo>
                <a:lnTo>
                  <a:pt x="766381" y="6125599"/>
                </a:lnTo>
                <a:cubicBezTo>
                  <a:pt x="766381" y="6098796"/>
                  <a:pt x="745393" y="6077736"/>
                  <a:pt x="719317" y="6077736"/>
                </a:cubicBezTo>
                <a:close/>
                <a:moveTo>
                  <a:pt x="0" y="0"/>
                </a:moveTo>
                <a:lnTo>
                  <a:pt x="8911685" y="3551"/>
                </a:lnTo>
                <a:lnTo>
                  <a:pt x="8911685" y="6021290"/>
                </a:lnTo>
                <a:cubicBezTo>
                  <a:pt x="8911685" y="6456375"/>
                  <a:pt x="8581023" y="6814230"/>
                  <a:pt x="8157291" y="6857262"/>
                </a:cubicBezTo>
                <a:lnTo>
                  <a:pt x="8071384"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26" name="Title 1">
            <a:extLst>
              <a:ext uri="{FF2B5EF4-FFF2-40B4-BE49-F238E27FC236}">
                <a16:creationId xmlns:a16="http://schemas.microsoft.com/office/drawing/2014/main" id="{59257972-5121-7C61-D1A1-B1409EF2A531}"/>
              </a:ext>
            </a:extLst>
          </p:cNvPr>
          <p:cNvSpPr>
            <a:spLocks noGrp="1"/>
          </p:cNvSpPr>
          <p:nvPr>
            <p:ph type="ctrTitle" hasCustomPrompt="1"/>
          </p:nvPr>
        </p:nvSpPr>
        <p:spPr>
          <a:xfrm>
            <a:off x="371475" y="4267733"/>
            <a:ext cx="7962297" cy="1634060"/>
          </a:xfrm>
        </p:spPr>
        <p:txBody>
          <a:bodyPr anchor="t"/>
          <a:lstStyle>
            <a:lvl1pPr algn="l">
              <a:lnSpc>
                <a:spcPts val="5800"/>
              </a:lnSpc>
              <a:defRPr sz="4400">
                <a:solidFill>
                  <a:schemeClr val="tx1"/>
                </a:solidFill>
              </a:defRPr>
            </a:lvl1pPr>
          </a:lstStyle>
          <a:p>
            <a:r>
              <a:rPr lang="en-GB" dirty="0"/>
              <a:t>Click to add title</a:t>
            </a:r>
          </a:p>
        </p:txBody>
      </p:sp>
    </p:spTree>
    <p:extLst>
      <p:ext uri="{BB962C8B-B14F-4D97-AF65-F5344CB8AC3E}">
        <p14:creationId xmlns:p14="http://schemas.microsoft.com/office/powerpoint/2010/main" val="30798356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325290" y="1439372"/>
            <a:ext cx="2917403" cy="486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mn-lt"/>
                <a:cs typeface="Arial" panose="020B0604020202020204" pitchFamily="34" charset="0"/>
              </a:rPr>
              <a:t>A. Insert corporate picture</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Brand Central App</a:t>
            </a:r>
            <a:r>
              <a:rPr lang="en-GB" altLang="da-DK" sz="900" b="0" baseline="0" noProof="1">
                <a:solidFill>
                  <a:schemeClr val="tx1"/>
                </a:solidFill>
                <a:latin typeface="+mn-lt"/>
                <a:cs typeface="Arial" panose="020B0604020202020204" pitchFamily="34" charset="0"/>
              </a:rPr>
              <a:t> in your PC/Mac icon menu</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hose brand,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select an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and drag it into your slid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mn-lt"/>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Insert</a:t>
            </a:r>
            <a:r>
              <a:rPr lang="en-GB" altLang="da-DK" sz="900" b="0" baseline="0" noProof="1">
                <a:solidFill>
                  <a:schemeClr val="tx1"/>
                </a:solidFill>
                <a:latin typeface="+mn-lt"/>
                <a:cs typeface="Arial" panose="020B0604020202020204" pitchFamily="34" charset="0"/>
              </a:rPr>
              <a:t> to browse for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a pictur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dirty="0">
                <a:solidFill>
                  <a:srgbClr val="000000"/>
                </a:solidFill>
                <a:latin typeface="+mn-lt"/>
                <a:ea typeface="Times New Roman" panose="02020603050405020304" pitchFamily="18" charset="0"/>
              </a:rPr>
              <a:t>C. </a:t>
            </a:r>
            <a:r>
              <a:rPr lang="en-GB" sz="900" b="1" noProof="0" dirty="0">
                <a:solidFill>
                  <a:srgbClr val="000000"/>
                </a:solidFill>
                <a:latin typeface="+mn-lt"/>
                <a:ea typeface="Times New Roman" panose="02020603050405020304" pitchFamily="18" charset="0"/>
              </a:rPr>
              <a:t>Insert copied picture</a:t>
            </a:r>
            <a:endParaRPr lang="en-GB" altLang="da-DK" sz="900" noProof="0" dirty="0">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paste</a:t>
            </a:r>
            <a:r>
              <a:rPr lang="en-GB" altLang="da-DK" sz="900" b="0" baseline="0" noProof="1">
                <a:solidFill>
                  <a:schemeClr val="tx1"/>
                </a:solidFill>
                <a:latin typeface="+mn-lt"/>
                <a:cs typeface="Arial" panose="020B0604020202020204" pitchFamily="34" charset="0"/>
              </a:rPr>
              <a:t> to browse for a picture</a:t>
            </a: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Guides</a:t>
            </a:r>
          </a:p>
          <a:p>
            <a:pPr eaLnBrk="1" hangingPunct="1">
              <a:spcAft>
                <a:spcPts val="600"/>
              </a:spcAft>
              <a:defRPr/>
            </a:pPr>
            <a:r>
              <a:rPr lang="en-GB" altLang="da-DK" sz="900" b="0" noProof="1">
                <a:solidFill>
                  <a:schemeClr val="tx1"/>
                </a:solidFill>
                <a:latin typeface="+mn-lt"/>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ing of guides</a:t>
            </a:r>
          </a:p>
          <a:p>
            <a:pPr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size</a:t>
            </a:r>
            <a:r>
              <a:rPr lang="en-GB" altLang="da-DK" sz="900" baseline="0" noProof="1">
                <a:solidFill>
                  <a:schemeClr val="tx1"/>
                </a:solidFill>
                <a:latin typeface="+mn-lt"/>
                <a:cs typeface="Arial" panose="020B0604020202020204" pitchFamily="34" charset="0"/>
              </a:rPr>
              <a:t> and formatting of the slide placeholders</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to their default settings</a:t>
            </a:r>
            <a:endParaRPr lang="en-GB" sz="900" noProof="1">
              <a:solidFill>
                <a:schemeClr val="tx1"/>
              </a:solidFill>
              <a:latin typeface="+mn-lt"/>
              <a:cs typeface="Arial" panose="020B0604020202020204" pitchFamily="34" charset="0"/>
            </a:endParaRPr>
          </a:p>
          <a:p>
            <a:pPr eaLnBrk="1" hangingPunct="1">
              <a:spcAft>
                <a:spcPts val="600"/>
              </a:spcAft>
              <a:defRPr/>
            </a:pPr>
            <a:endParaRPr lang="en-GB" altLang="da-DK" sz="900" b="1" noProof="1">
              <a:solidFill>
                <a:schemeClr val="tx1"/>
              </a:solidFill>
              <a:latin typeface="+mn-lt"/>
              <a:cs typeface="Arial" panose="020B0604020202020204" pitchFamily="34" charset="0"/>
            </a:endParaRPr>
          </a:p>
        </p:txBody>
      </p:sp>
      <p:sp>
        <p:nvSpPr>
          <p:cNvPr id="9" name="Header"/>
          <p:cNvSpPr txBox="1"/>
          <p:nvPr userDrawn="1"/>
        </p:nvSpPr>
        <p:spPr>
          <a:xfrm>
            <a:off x="481014" y="464888"/>
            <a:ext cx="11072810" cy="629149"/>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dirty="0">
                <a:ln>
                  <a:noFill/>
                </a:ln>
                <a:solidFill>
                  <a:schemeClr val="accent1"/>
                </a:solidFill>
                <a:effectLst/>
                <a:uLnTx/>
                <a:uFillTx/>
                <a:latin typeface="+mj-lt"/>
                <a:ea typeface="+mj-ea"/>
                <a:cs typeface="Arial" panose="020B0604020202020204" pitchFamily="34" charset="0"/>
              </a:rPr>
              <a:t>User guide – delete before use</a:t>
            </a:r>
            <a:endParaRPr lang="en-GB" sz="1800" noProof="0" dirty="0">
              <a:solidFill>
                <a:schemeClr val="accent1"/>
              </a:solidFill>
              <a:latin typeface="+mj-lt"/>
            </a:endParaRPr>
          </a:p>
        </p:txBody>
      </p:sp>
      <p:sp>
        <p:nvSpPr>
          <p:cNvPr id="29" name="Text Box 2"/>
          <p:cNvSpPr txBox="1">
            <a:spLocks noChangeArrowheads="1"/>
          </p:cNvSpPr>
          <p:nvPr userDrawn="1"/>
        </p:nvSpPr>
        <p:spPr bwMode="auto">
          <a:xfrm>
            <a:off x="507139" y="1439372"/>
            <a:ext cx="2412000"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Use text</a:t>
            </a:r>
            <a:r>
              <a:rPr lang="en-GB" sz="900" b="1" baseline="0" noProof="1">
                <a:solidFill>
                  <a:schemeClr val="tx1"/>
                </a:solidFill>
                <a:latin typeface="+mn-lt"/>
                <a:cs typeface="Arial" panose="020B0604020202020204" pitchFamily="34" charset="0"/>
              </a:rPr>
              <a:t> styles</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GB" sz="900" b="1" noProof="0" dirty="0">
                <a:solidFill>
                  <a:srgbClr val="000000"/>
                </a:solidFill>
                <a:latin typeface="+mn-lt"/>
                <a:ea typeface="Times New Roman" panose="02020603050405020304" pitchFamily="18" charset="0"/>
              </a:rPr>
              <a:t>Insert</a:t>
            </a:r>
            <a:r>
              <a:rPr lang="en-GB" sz="900" b="1" dirty="0">
                <a:solidFill>
                  <a:srgbClr val="000000"/>
                </a:solidFill>
                <a:latin typeface="+mn-lt"/>
                <a:ea typeface="Times New Roman" panose="02020603050405020304" pitchFamily="18" charset="0"/>
              </a:rPr>
              <a:t> a New Slide</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on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on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to insert </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new slide</a:t>
            </a:r>
          </a:p>
          <a:p>
            <a:pPr eaLnBrk="1" hangingPunct="1">
              <a:spcBef>
                <a:spcPts val="1200"/>
              </a:spcBef>
              <a:spcAft>
                <a:spcPts val="600"/>
              </a:spcAft>
              <a:defRPr/>
            </a:pPr>
            <a:r>
              <a:rPr lang="en-GB" sz="900" b="1" dirty="0">
                <a:solidFill>
                  <a:srgbClr val="000000"/>
                </a:solidFill>
                <a:latin typeface="+mn-lt"/>
                <a:ea typeface="Times New Roman" panose="02020603050405020304" pitchFamily="18" charset="0"/>
              </a:rPr>
              <a:t>Change Slide Layout</a:t>
            </a:r>
            <a:endParaRPr lang="en-GB" altLang="da-DK" sz="900" noProof="1">
              <a:solidFill>
                <a:schemeClr val="tx1"/>
              </a:solidFill>
              <a:latin typeface="+mn-lt"/>
              <a:cs typeface="Arial" panose="020B0604020202020204" pitchFamily="34" charset="0"/>
            </a:endParaRPr>
          </a:p>
          <a:p>
            <a:pPr marL="0" indent="0">
              <a:spcAft>
                <a:spcPts val="600"/>
              </a:spcAft>
              <a:buFont typeface="+mj-lt"/>
              <a:buNone/>
            </a:pPr>
            <a:r>
              <a:rPr lang="en-GB" sz="900" b="1" dirty="0">
                <a:solidFill>
                  <a:srgbClr val="000000"/>
                </a:solidFill>
                <a:latin typeface="+mn-lt"/>
                <a:ea typeface="Times New Roman" panose="02020603050405020304" pitchFamily="18" charset="0"/>
              </a:rPr>
              <a:t>1</a:t>
            </a:r>
            <a:r>
              <a:rPr lang="en-GB" sz="900" b="1" noProof="0" dirty="0">
                <a:solidFill>
                  <a:srgbClr val="000000"/>
                </a:solidFill>
                <a:latin typeface="+mn-lt"/>
                <a:ea typeface="Times New Roman" panose="02020603050405020304" pitchFamily="18" charset="0"/>
              </a:rPr>
              <a:t>. </a:t>
            </a:r>
            <a:r>
              <a:rPr lang="en-GB" sz="900" noProof="0" dirty="0">
                <a:solidFill>
                  <a:srgbClr val="000000"/>
                </a:solidFill>
                <a:latin typeface="+mn-lt"/>
                <a:ea typeface="Times New Roman" panose="02020603050405020304" pitchFamily="18" charset="0"/>
              </a:rPr>
              <a:t>Click on the arrow next to </a:t>
            </a:r>
            <a:r>
              <a:rPr lang="en-GB" sz="900" b="1" noProof="0" dirty="0">
                <a:solidFill>
                  <a:srgbClr val="000000"/>
                </a:solidFill>
                <a:latin typeface="+mn-lt"/>
                <a:ea typeface="Times New Roman" panose="02020603050405020304" pitchFamily="18" charset="0"/>
              </a:rPr>
              <a:t>Layout</a:t>
            </a:r>
            <a:br>
              <a:rPr lang="en-GB" sz="900" b="1" noProof="0" dirty="0">
                <a:solidFill>
                  <a:srgbClr val="000000"/>
                </a:solidFill>
                <a:latin typeface="+mn-lt"/>
                <a:ea typeface="Times New Roman" panose="02020603050405020304" pitchFamily="18" charset="0"/>
              </a:rPr>
            </a:br>
            <a:r>
              <a:rPr lang="en-GB" sz="900" noProof="0" dirty="0">
                <a:solidFill>
                  <a:srgbClr val="000000"/>
                </a:solidFill>
                <a:latin typeface="+mn-lt"/>
                <a:ea typeface="Times New Roman" panose="02020603050405020304" pitchFamily="18" charset="0"/>
              </a:rPr>
              <a:t>to view a dropdown menu of possible  layouts</a:t>
            </a:r>
            <a:endParaRPr lang="en-GB" sz="900" noProof="0" dirty="0">
              <a:latin typeface="+mn-lt"/>
              <a:ea typeface="Times New Roman" panose="02020603050405020304" pitchFamily="18" charset="0"/>
            </a:endParaRPr>
          </a:p>
          <a:p>
            <a:pPr marL="0" indent="0">
              <a:spcAft>
                <a:spcPts val="0"/>
              </a:spcAft>
              <a:buFont typeface="+mj-lt"/>
              <a:buNone/>
            </a:pPr>
            <a:r>
              <a:rPr lang="en-GB" sz="900" b="1" noProof="0" dirty="0">
                <a:solidFill>
                  <a:srgbClr val="000000"/>
                </a:solidFill>
                <a:latin typeface="+mn-lt"/>
                <a:ea typeface="Times New Roman" panose="02020603050405020304" pitchFamily="18" charset="0"/>
              </a:rPr>
              <a:t>2. </a:t>
            </a:r>
            <a:r>
              <a:rPr lang="en-GB" sz="900" noProof="0" dirty="0">
                <a:solidFill>
                  <a:srgbClr val="000000"/>
                </a:solidFill>
                <a:latin typeface="+mn-lt"/>
                <a:ea typeface="Times New Roman" panose="02020603050405020304" pitchFamily="18" charset="0"/>
              </a:rPr>
              <a:t>Click on the layout you prefer and it</a:t>
            </a:r>
            <a:br>
              <a:rPr lang="en-GB" sz="900" noProof="0" dirty="0">
                <a:solidFill>
                  <a:srgbClr val="000000"/>
                </a:solidFill>
                <a:latin typeface="+mn-lt"/>
                <a:ea typeface="Times New Roman" panose="02020603050405020304" pitchFamily="18" charset="0"/>
              </a:rPr>
            </a:br>
            <a:r>
              <a:rPr lang="en-GB" sz="900" noProof="0" dirty="0">
                <a:solidFill>
                  <a:srgbClr val="000000"/>
                </a:solidFill>
                <a:latin typeface="+mn-lt"/>
                <a:ea typeface="Times New Roman" panose="02020603050405020304" pitchFamily="18" charset="0"/>
              </a:rPr>
              <a:t>will be applied to the new slide</a:t>
            </a:r>
          </a:p>
        </p:txBody>
      </p:sp>
      <p:sp>
        <p:nvSpPr>
          <p:cNvPr id="25" name="Text Box 4"/>
          <p:cNvSpPr txBox="1">
            <a:spLocks noChangeArrowheads="1"/>
          </p:cNvSpPr>
          <p:nvPr userDrawn="1"/>
        </p:nvSpPr>
        <p:spPr bwMode="auto">
          <a:xfrm>
            <a:off x="8849935" y="1439372"/>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On slides with picture placeholder or any other placeholder, click on the placeholder.</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int: hold down the Shift button and click on the placeholder</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hange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endParaRPr lang="en-GB" sz="900" b="1" noProof="1">
              <a:solidFill>
                <a:schemeClr val="tx1"/>
              </a:solidFill>
              <a:latin typeface="+mn-lt"/>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ab</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mn-lt"/>
                <a:cs typeface="Arial" panose="020B0604020202020204" pitchFamily="34" charset="0"/>
              </a:rPr>
              <a:t>3.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757291" y="2308484"/>
            <a:ext cx="549328" cy="285228"/>
          </a:xfrm>
          <a:prstGeom prst="rect">
            <a:avLst/>
          </a:prstGeom>
        </p:spPr>
      </p:pic>
      <p:pic>
        <p:nvPicPr>
          <p:cNvPr id="13" name="2 New picture"/>
          <p:cNvPicPr>
            <a:picLocks noChangeAspect="1"/>
          </p:cNvPicPr>
          <p:nvPr userDrawn="1"/>
        </p:nvPicPr>
        <p:blipFill>
          <a:blip r:embed="rId3"/>
          <a:stretch>
            <a:fillRect/>
          </a:stretch>
        </p:blipFill>
        <p:spPr>
          <a:xfrm>
            <a:off x="2757291" y="4038223"/>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2757291" y="4861989"/>
            <a:ext cx="593368" cy="192211"/>
          </a:xfrm>
          <a:prstGeom prst="rect">
            <a:avLst/>
          </a:prstGeom>
        </p:spPr>
      </p:pic>
      <p:pic>
        <p:nvPicPr>
          <p:cNvPr id="19" name="4 Reset"/>
          <p:cNvPicPr>
            <a:picLocks noChangeAspect="1"/>
          </p:cNvPicPr>
          <p:nvPr userDrawn="1"/>
        </p:nvPicPr>
        <p:blipFill>
          <a:blip r:embed="rId5"/>
          <a:stretch>
            <a:fillRect/>
          </a:stretch>
        </p:blipFill>
        <p:spPr>
          <a:xfrm>
            <a:off x="7116372" y="5282559"/>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7028244" y="2583743"/>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a:srcRect l="1304" t="11451" r="30180" b="46035"/>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7072982" y="3558164"/>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a:srcRect l="1152" t="11676" r="31017" b="26411"/>
            <a:stretch/>
          </p:blipFill>
          <p:spPr>
            <a:xfrm>
              <a:off x="6442770" y="5155024"/>
              <a:ext cx="689279" cy="629150"/>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186326" y="2593712"/>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9"/>
          <a:stretch>
            <a:fillRect/>
          </a:stretch>
        </p:blipFill>
        <p:spPr>
          <a:xfrm>
            <a:off x="11186326" y="3510628"/>
            <a:ext cx="359695" cy="335309"/>
          </a:xfrm>
          <a:prstGeom prst="rect">
            <a:avLst/>
          </a:prstGeom>
        </p:spPr>
      </p:pic>
      <p:pic>
        <p:nvPicPr>
          <p:cNvPr id="22" name="Picture 21">
            <a:extLst>
              <a:ext uri="{FF2B5EF4-FFF2-40B4-BE49-F238E27FC236}">
                <a16:creationId xmlns:a16="http://schemas.microsoft.com/office/drawing/2014/main" id="{3C4EB944-268B-4588-9575-20967FF1FDE8}"/>
              </a:ext>
            </a:extLst>
          </p:cNvPr>
          <p:cNvPicPr>
            <a:picLocks noChangeAspect="1"/>
          </p:cNvPicPr>
          <p:nvPr userDrawn="1"/>
        </p:nvPicPr>
        <p:blipFill>
          <a:blip r:embed="rId10"/>
          <a:stretch>
            <a:fillRect/>
          </a:stretch>
        </p:blipFill>
        <p:spPr>
          <a:xfrm>
            <a:off x="2757291" y="3179601"/>
            <a:ext cx="257143" cy="285714"/>
          </a:xfrm>
          <a:prstGeom prst="rect">
            <a:avLst/>
          </a:prstGeom>
        </p:spPr>
      </p:pic>
      <p:sp>
        <p:nvSpPr>
          <p:cNvPr id="23" name="Date Placeholder 2">
            <a:extLst>
              <a:ext uri="{FF2B5EF4-FFF2-40B4-BE49-F238E27FC236}">
                <a16:creationId xmlns:a16="http://schemas.microsoft.com/office/drawing/2014/main" id="{C47240A8-F4C6-438F-B627-9F10AF7702F7}"/>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dirty="0"/>
          </a:p>
        </p:txBody>
      </p:sp>
      <p:sp>
        <p:nvSpPr>
          <p:cNvPr id="26" name="Footer Placeholder 3">
            <a:extLst>
              <a:ext uri="{FF2B5EF4-FFF2-40B4-BE49-F238E27FC236}">
                <a16:creationId xmlns:a16="http://schemas.microsoft.com/office/drawing/2014/main" id="{CE7E8215-C535-47A6-A19E-191CCD6226DF}"/>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Insert presentation title via Header &amp; Footer</a:t>
            </a:r>
          </a:p>
        </p:txBody>
      </p:sp>
      <p:sp>
        <p:nvSpPr>
          <p:cNvPr id="27" name="Slide Number Placeholder 4">
            <a:extLst>
              <a:ext uri="{FF2B5EF4-FFF2-40B4-BE49-F238E27FC236}">
                <a16:creationId xmlns:a16="http://schemas.microsoft.com/office/drawing/2014/main" id="{B1580671-F9A8-48F5-99CE-4A5C15752817}"/>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pic>
        <p:nvPicPr>
          <p:cNvPr id="3" name="Picture 2" descr="Icon&#10;&#10;Description automatically generated">
            <a:extLst>
              <a:ext uri="{FF2B5EF4-FFF2-40B4-BE49-F238E27FC236}">
                <a16:creationId xmlns:a16="http://schemas.microsoft.com/office/drawing/2014/main" id="{9314EC4D-2DD2-50D2-D68F-69DEFAC3361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065683" y="1411940"/>
            <a:ext cx="502771" cy="502771"/>
          </a:xfrm>
          <a:prstGeom prst="rect">
            <a:avLst/>
          </a:prstGeom>
        </p:spPr>
      </p:pic>
      <p:sp>
        <p:nvSpPr>
          <p:cNvPr id="4" name="TextBox 3">
            <a:extLst>
              <a:ext uri="{FF2B5EF4-FFF2-40B4-BE49-F238E27FC236}">
                <a16:creationId xmlns:a16="http://schemas.microsoft.com/office/drawing/2014/main" id="{14561FFF-3644-6FEA-FBAC-D605ABD9BDAF}"/>
              </a:ext>
            </a:extLst>
          </p:cNvPr>
          <p:cNvSpPr txBox="1"/>
          <p:nvPr userDrawn="1"/>
        </p:nvSpPr>
        <p:spPr>
          <a:xfrm>
            <a:off x="6831106" y="1734671"/>
            <a:ext cx="1553135" cy="618340"/>
          </a:xfrm>
          <a:prstGeom prst="rect">
            <a:avLst/>
          </a:prstGeom>
          <a:noFill/>
        </p:spPr>
        <p:txBody>
          <a:bodyPr wrap="square" lIns="237600" tIns="237600" rIns="237600" bIns="237600" rtlCol="0">
            <a:spAutoFit/>
          </a:bodyPr>
          <a:lstStyle/>
          <a:p>
            <a:pPr algn="l"/>
            <a:r>
              <a:rPr lang="en-DK" sz="900" b="1" dirty="0"/>
              <a:t>Brand Central App</a:t>
            </a:r>
          </a:p>
        </p:txBody>
      </p:sp>
    </p:spTree>
    <p:extLst>
      <p:ext uri="{BB962C8B-B14F-4D97-AF65-F5344CB8AC3E}">
        <p14:creationId xmlns:p14="http://schemas.microsoft.com/office/powerpoint/2010/main" val="25567744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i="0" noProof="0" dirty="0">
                <a:solidFill>
                  <a:schemeClr val="bg1"/>
                </a:solidFill>
              </a:rPr>
              <a:t>If you see any </a:t>
            </a:r>
            <a:r>
              <a:rPr lang="en-GB" sz="4400" b="1" i="0" noProof="0" dirty="0">
                <a:solidFill>
                  <a:schemeClr val="bg1"/>
                </a:solidFill>
              </a:rPr>
              <a:t>layouts after this </a:t>
            </a:r>
            <a:r>
              <a:rPr lang="en-GB" sz="4400" b="0" i="0" noProof="0" dirty="0">
                <a:solidFill>
                  <a:schemeClr val="bg1"/>
                </a:solidFill>
              </a:rPr>
              <a:t>one</a:t>
            </a:r>
            <a:r>
              <a:rPr lang="en-GB" sz="4400" b="1" i="0" noProof="0" dirty="0">
                <a:solidFill>
                  <a:schemeClr val="bg1"/>
                </a:solidFill>
              </a:rPr>
              <a:t>,</a:t>
            </a:r>
            <a:br>
              <a:rPr lang="en-GB" sz="4400" b="0" i="0" noProof="0" dirty="0">
                <a:solidFill>
                  <a:schemeClr val="bg1"/>
                </a:solidFill>
              </a:rPr>
            </a:br>
            <a:r>
              <a:rPr lang="en-GB" sz="4400" b="0" i="0" noProof="0" dirty="0">
                <a:solidFill>
                  <a:schemeClr val="bg1"/>
                </a:solidFill>
              </a:rPr>
              <a:t>do not use them. These layouts </a:t>
            </a:r>
            <a:r>
              <a:rPr lang="en-GB" sz="4400" b="1" i="0" u="none" noProof="0" dirty="0">
                <a:solidFill>
                  <a:schemeClr val="bg1"/>
                </a:solidFill>
              </a:rPr>
              <a:t>are not </a:t>
            </a:r>
            <a:r>
              <a:rPr lang="en-GB" sz="4400" b="0" i="0" noProof="0" dirty="0">
                <a:solidFill>
                  <a:schemeClr val="bg1"/>
                </a:solidFill>
              </a:rPr>
              <a:t>part of our corporate template.</a:t>
            </a:r>
            <a:br>
              <a:rPr lang="en-GB" sz="2800" b="0" i="0" noProof="0" dirty="0">
                <a:solidFill>
                  <a:schemeClr val="bg1"/>
                </a:solidFill>
              </a:rPr>
            </a:br>
            <a:br>
              <a:rPr lang="en-GB" sz="2800" b="0" i="0" noProof="0" dirty="0">
                <a:solidFill>
                  <a:schemeClr val="bg1"/>
                </a:solidFill>
              </a:rPr>
            </a:br>
            <a:endParaRPr lang="en-GB" sz="2800" b="0" i="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0" noProof="0" dirty="0">
                <a:solidFill>
                  <a:schemeClr val="bg1"/>
                </a:solidFill>
              </a:rPr>
              <a:t>Do not use </a:t>
            </a:r>
            <a:endParaRPr lang="en-GB" sz="2400" b="1" i="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Insert presentation title via Header &amp; Footer</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20201549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endParaRPr lang="en-GB" noProof="0" dirty="0"/>
          </a:p>
        </p:txBody>
      </p:sp>
      <p:sp>
        <p:nvSpPr>
          <p:cNvPr id="15" name="Content Placeholder 14"/>
          <p:cNvSpPr>
            <a:spLocks noGrp="1" noChangeAspect="1"/>
          </p:cNvSpPr>
          <p:nvPr>
            <p:ph sz="quarter" idx="10" hasCustomPrompt="1"/>
          </p:nvPr>
        </p:nvSpPr>
        <p:spPr>
          <a:xfrm>
            <a:off x="619924" y="1407159"/>
            <a:ext cx="10958400" cy="4939200"/>
          </a:xfrm>
        </p:spPr>
        <p:txBody>
          <a:bodyPr/>
          <a:lstStyle>
            <a:lvl1pPr>
              <a:spcAft>
                <a:spcPts val="720"/>
              </a:spcAft>
              <a:defRPr sz="2000"/>
            </a:lvl1pPr>
            <a:lvl2pPr>
              <a:spcBef>
                <a:spcPts val="500"/>
              </a:spcBef>
              <a:defRPr/>
            </a:lvl2pPr>
            <a:lvl3pPr>
              <a:buClr>
                <a:schemeClr val="accent3"/>
              </a:buClr>
              <a:defRPr/>
            </a:lvl3pPr>
            <a:lvl4pPr>
              <a:buClr>
                <a:schemeClr val="accent4"/>
              </a:buClr>
              <a:defRPr/>
            </a:lvl4pPr>
            <a:lvl5pPr>
              <a:buClr>
                <a:schemeClr val="accent2"/>
              </a:buClr>
              <a:defRPr/>
            </a:lvl5pPr>
          </a:lstStyle>
          <a:p>
            <a:pPr lvl="0"/>
            <a:r>
              <a:rPr lang="en-US" noProof="0" dirty="0"/>
              <a:t>Click to add text</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endParaRPr lang="en-GB" noProof="0" dirty="0"/>
          </a:p>
        </p:txBody>
      </p:sp>
      <p:sp>
        <p:nvSpPr>
          <p:cNvPr id="10" name="Date Placeholder 9"/>
          <p:cNvSpPr>
            <a:spLocks noGrp="1"/>
          </p:cNvSpPr>
          <p:nvPr>
            <p:ph type="dt" sz="half" idx="11"/>
          </p:nvPr>
        </p:nvSpPr>
        <p:spPr>
          <a:xfrm>
            <a:off x="626673" y="6519789"/>
            <a:ext cx="968641" cy="230832"/>
          </a:xfrm>
        </p:spPr>
        <p:txBody>
          <a:bodyPr/>
          <a:lstStyle/>
          <a:p>
            <a:r>
              <a:rPr lang="en-GB" dirty="0"/>
              <a:t>SOURCE:</a:t>
            </a:r>
            <a:endParaRPr lang="en-US" dirty="0"/>
          </a:p>
        </p:txBody>
      </p:sp>
      <p:sp>
        <p:nvSpPr>
          <p:cNvPr id="11" name="Slide Number Placeholder 10"/>
          <p:cNvSpPr>
            <a:spLocks noGrp="1"/>
          </p:cNvSpPr>
          <p:nvPr>
            <p:ph type="sldNum" sz="quarter" idx="12"/>
          </p:nvPr>
        </p:nvSpPr>
        <p:spPr/>
        <p:txBody>
          <a:bodyPr/>
          <a:lstStyle/>
          <a:p>
            <a:fld id="{E95D9087-60FE-ED43-B7E4-1DE39A33D433}" type="slidenum">
              <a:rPr lang="en-US" smtClean="0"/>
              <a:pPr/>
              <a:t>‹#›</a:t>
            </a:fld>
            <a:endParaRPr lang="en-US" dirty="0"/>
          </a:p>
        </p:txBody>
      </p:sp>
    </p:spTree>
    <p:extLst>
      <p:ext uri="{BB962C8B-B14F-4D97-AF65-F5344CB8AC3E}">
        <p14:creationId xmlns:p14="http://schemas.microsoft.com/office/powerpoint/2010/main" val="12808995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6609F-E6B6-B648-BCF0-8E36AFCAAE2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DK"/>
          </a:p>
        </p:txBody>
      </p:sp>
      <p:sp>
        <p:nvSpPr>
          <p:cNvPr id="3" name="Subtitle 2">
            <a:extLst>
              <a:ext uri="{FF2B5EF4-FFF2-40B4-BE49-F238E27FC236}">
                <a16:creationId xmlns:a16="http://schemas.microsoft.com/office/drawing/2014/main" id="{BB726BAA-A907-6544-E934-8F863C45EF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DK"/>
          </a:p>
        </p:txBody>
      </p:sp>
      <p:sp>
        <p:nvSpPr>
          <p:cNvPr id="4" name="Date Placeholder 3">
            <a:extLst>
              <a:ext uri="{FF2B5EF4-FFF2-40B4-BE49-F238E27FC236}">
                <a16:creationId xmlns:a16="http://schemas.microsoft.com/office/drawing/2014/main" id="{44159060-3487-DC83-354E-AEB1FB294303}"/>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5" name="Footer Placeholder 4">
            <a:extLst>
              <a:ext uri="{FF2B5EF4-FFF2-40B4-BE49-F238E27FC236}">
                <a16:creationId xmlns:a16="http://schemas.microsoft.com/office/drawing/2014/main" id="{419B7D97-E743-544D-991F-F9AACDD0DCB1}"/>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D6D67349-C83F-D73A-8848-39AC9B7A34D0}"/>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13309365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96EC6-E456-C0AA-18A0-3A69947995C4}"/>
              </a:ext>
            </a:extLst>
          </p:cNvPr>
          <p:cNvSpPr>
            <a:spLocks noGrp="1"/>
          </p:cNvSpPr>
          <p:nvPr>
            <p:ph type="title"/>
          </p:nvPr>
        </p:nvSpPr>
        <p:spPr/>
        <p:txBody>
          <a:bodyPr/>
          <a:lstStyle/>
          <a:p>
            <a:r>
              <a:rPr lang="en-GB"/>
              <a:t>Click to edit Master title style</a:t>
            </a:r>
            <a:endParaRPr lang="en-DK"/>
          </a:p>
        </p:txBody>
      </p:sp>
      <p:sp>
        <p:nvSpPr>
          <p:cNvPr id="3" name="Content Placeholder 2">
            <a:extLst>
              <a:ext uri="{FF2B5EF4-FFF2-40B4-BE49-F238E27FC236}">
                <a16:creationId xmlns:a16="http://schemas.microsoft.com/office/drawing/2014/main" id="{131E3EB3-CAB3-606A-4E40-F95D0DAAD83C}"/>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4" name="Date Placeholder 3">
            <a:extLst>
              <a:ext uri="{FF2B5EF4-FFF2-40B4-BE49-F238E27FC236}">
                <a16:creationId xmlns:a16="http://schemas.microsoft.com/office/drawing/2014/main" id="{4FA3C8E9-5D3B-46B2-3E4D-D501A5BBB737}"/>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5" name="Footer Placeholder 4">
            <a:extLst>
              <a:ext uri="{FF2B5EF4-FFF2-40B4-BE49-F238E27FC236}">
                <a16:creationId xmlns:a16="http://schemas.microsoft.com/office/drawing/2014/main" id="{D28A7E42-D475-6FAD-3317-F7287057E1DF}"/>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4E3D9EB9-F852-6D93-3D5C-6F3C993B7928}"/>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37766614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DD92F-780B-5A4A-4016-485665B7C95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DK"/>
          </a:p>
        </p:txBody>
      </p:sp>
      <p:sp>
        <p:nvSpPr>
          <p:cNvPr id="3" name="Text Placeholder 2">
            <a:extLst>
              <a:ext uri="{FF2B5EF4-FFF2-40B4-BE49-F238E27FC236}">
                <a16:creationId xmlns:a16="http://schemas.microsoft.com/office/drawing/2014/main" id="{CAEDEF5E-514B-10A3-3F7A-48355F57302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E067FDF-7F75-38D1-56D4-A0E14B3892B8}"/>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5" name="Footer Placeholder 4">
            <a:extLst>
              <a:ext uri="{FF2B5EF4-FFF2-40B4-BE49-F238E27FC236}">
                <a16:creationId xmlns:a16="http://schemas.microsoft.com/office/drawing/2014/main" id="{DC999AC9-9D98-57B7-9AD3-5B078C104083}"/>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BD09979E-0CFD-AE1E-3412-715071183A17}"/>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24422254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883E2-8704-6FCD-9A1C-33CB5D40888D}"/>
              </a:ext>
            </a:extLst>
          </p:cNvPr>
          <p:cNvSpPr>
            <a:spLocks noGrp="1"/>
          </p:cNvSpPr>
          <p:nvPr>
            <p:ph type="title"/>
          </p:nvPr>
        </p:nvSpPr>
        <p:spPr/>
        <p:txBody>
          <a:bodyPr/>
          <a:lstStyle/>
          <a:p>
            <a:r>
              <a:rPr lang="en-GB"/>
              <a:t>Click to edit Master title style</a:t>
            </a:r>
            <a:endParaRPr lang="en-DK"/>
          </a:p>
        </p:txBody>
      </p:sp>
      <p:sp>
        <p:nvSpPr>
          <p:cNvPr id="3" name="Content Placeholder 2">
            <a:extLst>
              <a:ext uri="{FF2B5EF4-FFF2-40B4-BE49-F238E27FC236}">
                <a16:creationId xmlns:a16="http://schemas.microsoft.com/office/drawing/2014/main" id="{A234BA91-8691-C3B2-5832-BA5256DB434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4" name="Content Placeholder 3">
            <a:extLst>
              <a:ext uri="{FF2B5EF4-FFF2-40B4-BE49-F238E27FC236}">
                <a16:creationId xmlns:a16="http://schemas.microsoft.com/office/drawing/2014/main" id="{4286B78A-375E-EC10-ED91-46FACDB015BE}"/>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Date Placeholder 4">
            <a:extLst>
              <a:ext uri="{FF2B5EF4-FFF2-40B4-BE49-F238E27FC236}">
                <a16:creationId xmlns:a16="http://schemas.microsoft.com/office/drawing/2014/main" id="{F3213748-5656-6B61-3D25-52F95B1EF06F}"/>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6" name="Footer Placeholder 5">
            <a:extLst>
              <a:ext uri="{FF2B5EF4-FFF2-40B4-BE49-F238E27FC236}">
                <a16:creationId xmlns:a16="http://schemas.microsoft.com/office/drawing/2014/main" id="{A34602FD-25FA-CC37-DC66-09CE12966FBC}"/>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CA8B2904-F563-5AA6-3A43-072A48382268}"/>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19411063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5CF1A-3B9E-B834-1D97-11CFFF2186DA}"/>
              </a:ext>
            </a:extLst>
          </p:cNvPr>
          <p:cNvSpPr>
            <a:spLocks noGrp="1"/>
          </p:cNvSpPr>
          <p:nvPr>
            <p:ph type="title"/>
          </p:nvPr>
        </p:nvSpPr>
        <p:spPr>
          <a:xfrm>
            <a:off x="839788" y="365125"/>
            <a:ext cx="10515600" cy="1325563"/>
          </a:xfrm>
        </p:spPr>
        <p:txBody>
          <a:bodyPr/>
          <a:lstStyle/>
          <a:p>
            <a:r>
              <a:rPr lang="en-GB"/>
              <a:t>Click to edit Master title style</a:t>
            </a:r>
            <a:endParaRPr lang="en-DK"/>
          </a:p>
        </p:txBody>
      </p:sp>
      <p:sp>
        <p:nvSpPr>
          <p:cNvPr id="3" name="Text Placeholder 2">
            <a:extLst>
              <a:ext uri="{FF2B5EF4-FFF2-40B4-BE49-F238E27FC236}">
                <a16:creationId xmlns:a16="http://schemas.microsoft.com/office/drawing/2014/main" id="{F9E74FAC-4918-6294-09EB-96340E6BA4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2EB02DF-0525-DDB4-3FB6-C8E79EF0BB0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5" name="Text Placeholder 4">
            <a:extLst>
              <a:ext uri="{FF2B5EF4-FFF2-40B4-BE49-F238E27FC236}">
                <a16:creationId xmlns:a16="http://schemas.microsoft.com/office/drawing/2014/main" id="{14B522BF-D6D7-6F6B-5CE7-53949915AAD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F7CA097-F51E-87ED-B66D-223D011C90F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7" name="Date Placeholder 6">
            <a:extLst>
              <a:ext uri="{FF2B5EF4-FFF2-40B4-BE49-F238E27FC236}">
                <a16:creationId xmlns:a16="http://schemas.microsoft.com/office/drawing/2014/main" id="{28F5E4DE-C067-F30F-3F9E-899BA5155BE8}"/>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8" name="Footer Placeholder 7">
            <a:extLst>
              <a:ext uri="{FF2B5EF4-FFF2-40B4-BE49-F238E27FC236}">
                <a16:creationId xmlns:a16="http://schemas.microsoft.com/office/drawing/2014/main" id="{67428C5B-CE97-8637-4288-1FDA49781CE1}"/>
              </a:ext>
            </a:extLst>
          </p:cNvPr>
          <p:cNvSpPr>
            <a:spLocks noGrp="1"/>
          </p:cNvSpPr>
          <p:nvPr>
            <p:ph type="ftr" sz="quarter" idx="11"/>
          </p:nvPr>
        </p:nvSpPr>
        <p:spPr/>
        <p:txBody>
          <a:bodyPr/>
          <a:lstStyle/>
          <a:p>
            <a:endParaRPr lang="en-DK"/>
          </a:p>
        </p:txBody>
      </p:sp>
      <p:sp>
        <p:nvSpPr>
          <p:cNvPr id="9" name="Slide Number Placeholder 8">
            <a:extLst>
              <a:ext uri="{FF2B5EF4-FFF2-40B4-BE49-F238E27FC236}">
                <a16:creationId xmlns:a16="http://schemas.microsoft.com/office/drawing/2014/main" id="{B1398970-3CCA-0DF2-BFC6-2217FA57424C}"/>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31754615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2A867-AC58-0F5A-4989-845F5F59706A}"/>
              </a:ext>
            </a:extLst>
          </p:cNvPr>
          <p:cNvSpPr>
            <a:spLocks noGrp="1"/>
          </p:cNvSpPr>
          <p:nvPr>
            <p:ph type="title"/>
          </p:nvPr>
        </p:nvSpPr>
        <p:spPr/>
        <p:txBody>
          <a:bodyPr/>
          <a:lstStyle/>
          <a:p>
            <a:r>
              <a:rPr lang="en-GB"/>
              <a:t>Click to edit Master title style</a:t>
            </a:r>
            <a:endParaRPr lang="en-DK"/>
          </a:p>
        </p:txBody>
      </p:sp>
      <p:sp>
        <p:nvSpPr>
          <p:cNvPr id="3" name="Date Placeholder 2">
            <a:extLst>
              <a:ext uri="{FF2B5EF4-FFF2-40B4-BE49-F238E27FC236}">
                <a16:creationId xmlns:a16="http://schemas.microsoft.com/office/drawing/2014/main" id="{A7AFCBED-8AE3-D1A2-5A18-04FB4AE68DD6}"/>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4" name="Footer Placeholder 3">
            <a:extLst>
              <a:ext uri="{FF2B5EF4-FFF2-40B4-BE49-F238E27FC236}">
                <a16:creationId xmlns:a16="http://schemas.microsoft.com/office/drawing/2014/main" id="{CD5CEDA3-A773-E59A-B76E-5675BE51363A}"/>
              </a:ext>
            </a:extLst>
          </p:cNvPr>
          <p:cNvSpPr>
            <a:spLocks noGrp="1"/>
          </p:cNvSpPr>
          <p:nvPr>
            <p:ph type="ftr" sz="quarter" idx="11"/>
          </p:nvPr>
        </p:nvSpPr>
        <p:spPr/>
        <p:txBody>
          <a:bodyPr/>
          <a:lstStyle/>
          <a:p>
            <a:endParaRPr lang="en-DK"/>
          </a:p>
        </p:txBody>
      </p:sp>
      <p:sp>
        <p:nvSpPr>
          <p:cNvPr id="5" name="Slide Number Placeholder 4">
            <a:extLst>
              <a:ext uri="{FF2B5EF4-FFF2-40B4-BE49-F238E27FC236}">
                <a16:creationId xmlns:a16="http://schemas.microsoft.com/office/drawing/2014/main" id="{FE49B811-4AB0-FCF1-F362-93C934B36288}"/>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17630677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C97B33-6E13-22F9-C778-824AEE081223}"/>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3" name="Footer Placeholder 2">
            <a:extLst>
              <a:ext uri="{FF2B5EF4-FFF2-40B4-BE49-F238E27FC236}">
                <a16:creationId xmlns:a16="http://schemas.microsoft.com/office/drawing/2014/main" id="{27A809E4-F9AE-0A5B-6851-A58F31F7CFD9}"/>
              </a:ext>
            </a:extLst>
          </p:cNvPr>
          <p:cNvSpPr>
            <a:spLocks noGrp="1"/>
          </p:cNvSpPr>
          <p:nvPr>
            <p:ph type="ftr" sz="quarter" idx="11"/>
          </p:nvPr>
        </p:nvSpPr>
        <p:spPr/>
        <p:txBody>
          <a:bodyPr/>
          <a:lstStyle/>
          <a:p>
            <a:endParaRPr lang="en-DK"/>
          </a:p>
        </p:txBody>
      </p:sp>
      <p:sp>
        <p:nvSpPr>
          <p:cNvPr id="4" name="Slide Number Placeholder 3">
            <a:extLst>
              <a:ext uri="{FF2B5EF4-FFF2-40B4-BE49-F238E27FC236}">
                <a16:creationId xmlns:a16="http://schemas.microsoft.com/office/drawing/2014/main" id="{5A408027-FBCF-0C3F-310E-31E9BC59E71E}"/>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1454290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E">
    <p:bg>
      <p:bgPr>
        <a:solidFill>
          <a:schemeClr val="accent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CBE64CD-AD7A-FBDE-6068-9A34E97C021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89090" y="6188152"/>
            <a:ext cx="1531435" cy="180000"/>
          </a:xfrm>
          <a:prstGeom prst="rect">
            <a:avLst/>
          </a:prstGeom>
        </p:spPr>
      </p:pic>
      <p:sp>
        <p:nvSpPr>
          <p:cNvPr id="21" name="Freeform 20">
            <a:extLst>
              <a:ext uri="{FF2B5EF4-FFF2-40B4-BE49-F238E27FC236}">
                <a16:creationId xmlns:a16="http://schemas.microsoft.com/office/drawing/2014/main" id="{23333BE9-BDFC-E99A-B635-C5AD934F45C8}"/>
              </a:ext>
            </a:extLst>
          </p:cNvPr>
          <p:cNvSpPr/>
          <p:nvPr userDrawn="1"/>
        </p:nvSpPr>
        <p:spPr>
          <a:xfrm>
            <a:off x="2854358" y="-3600"/>
            <a:ext cx="6426962" cy="6861600"/>
          </a:xfrm>
          <a:custGeom>
            <a:avLst/>
            <a:gdLst>
              <a:gd name="connsiteX0" fmla="*/ 0 w 6426962"/>
              <a:gd name="connsiteY0" fmla="*/ 0 h 6858000"/>
              <a:gd name="connsiteX1" fmla="*/ 4457700 w 6426962"/>
              <a:gd name="connsiteY1" fmla="*/ 0 h 6858000"/>
              <a:gd name="connsiteX2" fmla="*/ 4457700 w 6426962"/>
              <a:gd name="connsiteY2" fmla="*/ 0 h 6858000"/>
              <a:gd name="connsiteX3" fmla="*/ 6426962 w 6426962"/>
              <a:gd name="connsiteY3" fmla="*/ 0 h 6858000"/>
              <a:gd name="connsiteX4" fmla="*/ 6426962 w 6426962"/>
              <a:gd name="connsiteY4" fmla="*/ 4789046 h 6858000"/>
              <a:gd name="connsiteX5" fmla="*/ 6426962 w 6426962"/>
              <a:gd name="connsiteY5" fmla="*/ 4902200 h 6858000"/>
              <a:gd name="connsiteX6" fmla="*/ 6426962 w 6426962"/>
              <a:gd name="connsiteY6" fmla="*/ 6010018 h 6858000"/>
              <a:gd name="connsiteX7" fmla="*/ 5578980 w 6426962"/>
              <a:gd name="connsiteY7" fmla="*/ 6858000 h 6858000"/>
              <a:gd name="connsiteX8" fmla="*/ 4457700 w 6426962"/>
              <a:gd name="connsiteY8" fmla="*/ 6858000 h 6858000"/>
              <a:gd name="connsiteX9" fmla="*/ 4048382 w 6426962"/>
              <a:gd name="connsiteY9" fmla="*/ 6858000 h 6858000"/>
              <a:gd name="connsiteX10" fmla="*/ 0 w 6426962"/>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6962" h="6858000">
                <a:moveTo>
                  <a:pt x="0" y="0"/>
                </a:moveTo>
                <a:lnTo>
                  <a:pt x="4457700" y="0"/>
                </a:lnTo>
                <a:lnTo>
                  <a:pt x="4457700" y="0"/>
                </a:lnTo>
                <a:lnTo>
                  <a:pt x="6426962" y="0"/>
                </a:lnTo>
                <a:lnTo>
                  <a:pt x="6426962" y="4789046"/>
                </a:lnTo>
                <a:lnTo>
                  <a:pt x="6426962" y="4902200"/>
                </a:lnTo>
                <a:lnTo>
                  <a:pt x="6426962" y="6010018"/>
                </a:lnTo>
                <a:cubicBezTo>
                  <a:pt x="6426962" y="6478346"/>
                  <a:pt x="6047308" y="6858000"/>
                  <a:pt x="5578980" y="6858000"/>
                </a:cubicBezTo>
                <a:lnTo>
                  <a:pt x="4457700" y="6858000"/>
                </a:lnTo>
                <a:lnTo>
                  <a:pt x="404838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dirty="0" err="1"/>
          </a:p>
        </p:txBody>
      </p:sp>
      <p:sp>
        <p:nvSpPr>
          <p:cNvPr id="35" name="Picture Placeholder 34">
            <a:extLst>
              <a:ext uri="{FF2B5EF4-FFF2-40B4-BE49-F238E27FC236}">
                <a16:creationId xmlns:a16="http://schemas.microsoft.com/office/drawing/2014/main" id="{89AC51BB-264A-1609-8951-4D9DDFC3BE77}"/>
              </a:ext>
            </a:extLst>
          </p:cNvPr>
          <p:cNvSpPr>
            <a:spLocks noGrp="1"/>
          </p:cNvSpPr>
          <p:nvPr>
            <p:ph type="pic" sz="quarter" idx="13" hasCustomPrompt="1"/>
          </p:nvPr>
        </p:nvSpPr>
        <p:spPr>
          <a:xfrm>
            <a:off x="0" y="-3600"/>
            <a:ext cx="8911685" cy="6861600"/>
          </a:xfrm>
          <a:custGeom>
            <a:avLst/>
            <a:gdLst>
              <a:gd name="connsiteX0" fmla="*/ 1657413 w 8911685"/>
              <a:gd name="connsiteY0" fmla="*/ 6230260 h 6861600"/>
              <a:gd name="connsiteX1" fmla="*/ 1747724 w 8911685"/>
              <a:gd name="connsiteY1" fmla="*/ 6230260 h 6861600"/>
              <a:gd name="connsiteX2" fmla="*/ 1747724 w 8911685"/>
              <a:gd name="connsiteY2" fmla="*/ 6278123 h 6861600"/>
              <a:gd name="connsiteX3" fmla="*/ 1657413 w 8911685"/>
              <a:gd name="connsiteY3" fmla="*/ 6278123 h 6861600"/>
              <a:gd name="connsiteX4" fmla="*/ 1280903 w 8911685"/>
              <a:gd name="connsiteY4" fmla="*/ 6228345 h 6861600"/>
              <a:gd name="connsiteX5" fmla="*/ 1312703 w 8911685"/>
              <a:gd name="connsiteY5" fmla="*/ 6306841 h 6861600"/>
              <a:gd name="connsiteX6" fmla="*/ 1249104 w 8911685"/>
              <a:gd name="connsiteY6" fmla="*/ 6306841 h 6861600"/>
              <a:gd name="connsiteX7" fmla="*/ 2035831 w 8911685"/>
              <a:gd name="connsiteY7" fmla="*/ 6194522 h 6861600"/>
              <a:gd name="connsiteX8" fmla="*/ 2035831 w 8911685"/>
              <a:gd name="connsiteY8" fmla="*/ 6377678 h 6861600"/>
              <a:gd name="connsiteX9" fmla="*/ 2079715 w 8911685"/>
              <a:gd name="connsiteY9" fmla="*/ 6377678 h 6861600"/>
              <a:gd name="connsiteX10" fmla="*/ 2079715 w 8911685"/>
              <a:gd name="connsiteY10" fmla="*/ 6293439 h 6861600"/>
              <a:gd name="connsiteX11" fmla="*/ 2162394 w 8911685"/>
              <a:gd name="connsiteY11" fmla="*/ 6377678 h 6861600"/>
              <a:gd name="connsiteX12" fmla="*/ 2222814 w 8911685"/>
              <a:gd name="connsiteY12" fmla="*/ 6377678 h 6861600"/>
              <a:gd name="connsiteX13" fmla="*/ 2122963 w 8911685"/>
              <a:gd name="connsiteY13" fmla="*/ 6280037 h 6861600"/>
              <a:gd name="connsiteX14" fmla="*/ 2218998 w 8911685"/>
              <a:gd name="connsiteY14" fmla="*/ 6194522 h 6861600"/>
              <a:gd name="connsiteX15" fmla="*/ 2160486 w 8911685"/>
              <a:gd name="connsiteY15" fmla="*/ 6194522 h 6861600"/>
              <a:gd name="connsiteX16" fmla="*/ 2079715 w 8911685"/>
              <a:gd name="connsiteY16" fmla="*/ 6268550 h 6861600"/>
              <a:gd name="connsiteX17" fmla="*/ 2079715 w 8911685"/>
              <a:gd name="connsiteY17" fmla="*/ 6194522 h 6861600"/>
              <a:gd name="connsiteX18" fmla="*/ 1614165 w 8911685"/>
              <a:gd name="connsiteY18" fmla="*/ 6194522 h 6861600"/>
              <a:gd name="connsiteX19" fmla="*/ 1614165 w 8911685"/>
              <a:gd name="connsiteY19" fmla="*/ 6377678 h 6861600"/>
              <a:gd name="connsiteX20" fmla="*/ 1657413 w 8911685"/>
              <a:gd name="connsiteY20" fmla="*/ 6377678 h 6861600"/>
              <a:gd name="connsiteX21" fmla="*/ 1657413 w 8911685"/>
              <a:gd name="connsiteY21" fmla="*/ 6314499 h 6861600"/>
              <a:gd name="connsiteX22" fmla="*/ 1704477 w 8911685"/>
              <a:gd name="connsiteY22" fmla="*/ 6314499 h 6861600"/>
              <a:gd name="connsiteX23" fmla="*/ 1743908 w 8911685"/>
              <a:gd name="connsiteY23" fmla="*/ 6377678 h 6861600"/>
              <a:gd name="connsiteX24" fmla="*/ 1790972 w 8911685"/>
              <a:gd name="connsiteY24" fmla="*/ 6377678 h 6861600"/>
              <a:gd name="connsiteX25" fmla="*/ 1749632 w 8911685"/>
              <a:gd name="connsiteY25" fmla="*/ 6314499 h 6861600"/>
              <a:gd name="connsiteX26" fmla="*/ 1753448 w 8911685"/>
              <a:gd name="connsiteY26" fmla="*/ 6314499 h 6861600"/>
              <a:gd name="connsiteX27" fmla="*/ 1789064 w 8911685"/>
              <a:gd name="connsiteY27" fmla="*/ 6285781 h 6861600"/>
              <a:gd name="connsiteX28" fmla="*/ 1789064 w 8911685"/>
              <a:gd name="connsiteY28" fmla="*/ 6225154 h 6861600"/>
              <a:gd name="connsiteX29" fmla="*/ 1759172 w 8911685"/>
              <a:gd name="connsiteY29" fmla="*/ 6194522 h 6861600"/>
              <a:gd name="connsiteX30" fmla="*/ 1408738 w 8911685"/>
              <a:gd name="connsiteY30" fmla="*/ 6194522 h 6861600"/>
              <a:gd name="connsiteX31" fmla="*/ 1408738 w 8911685"/>
              <a:gd name="connsiteY31" fmla="*/ 6377678 h 6861600"/>
              <a:gd name="connsiteX32" fmla="*/ 1582365 w 8911685"/>
              <a:gd name="connsiteY32" fmla="*/ 6377678 h 6861600"/>
              <a:gd name="connsiteX33" fmla="*/ 1582365 w 8911685"/>
              <a:gd name="connsiteY33" fmla="*/ 6341302 h 6861600"/>
              <a:gd name="connsiteX34" fmla="*/ 1450078 w 8911685"/>
              <a:gd name="connsiteY34" fmla="*/ 6341302 h 6861600"/>
              <a:gd name="connsiteX35" fmla="*/ 1450078 w 8911685"/>
              <a:gd name="connsiteY35" fmla="*/ 6303012 h 6861600"/>
              <a:gd name="connsiteX36" fmla="*/ 1563285 w 8911685"/>
              <a:gd name="connsiteY36" fmla="*/ 6303012 h 6861600"/>
              <a:gd name="connsiteX37" fmla="*/ 1563285 w 8911685"/>
              <a:gd name="connsiteY37" fmla="*/ 6266636 h 6861600"/>
              <a:gd name="connsiteX38" fmla="*/ 1450078 w 8911685"/>
              <a:gd name="connsiteY38" fmla="*/ 6266636 h 6861600"/>
              <a:gd name="connsiteX39" fmla="*/ 1450078 w 8911685"/>
              <a:gd name="connsiteY39" fmla="*/ 6230260 h 6861600"/>
              <a:gd name="connsiteX40" fmla="*/ 1580457 w 8911685"/>
              <a:gd name="connsiteY40" fmla="*/ 6230260 h 6861600"/>
              <a:gd name="connsiteX41" fmla="*/ 1580457 w 8911685"/>
              <a:gd name="connsiteY41" fmla="*/ 6194522 h 6861600"/>
              <a:gd name="connsiteX42" fmla="*/ 1252284 w 8911685"/>
              <a:gd name="connsiteY42" fmla="*/ 6194522 h 6861600"/>
              <a:gd name="connsiteX43" fmla="*/ 1171512 w 8911685"/>
              <a:gd name="connsiteY43" fmla="*/ 6377678 h 6861600"/>
              <a:gd name="connsiteX44" fmla="*/ 1218576 w 8911685"/>
              <a:gd name="connsiteY44" fmla="*/ 6377678 h 6861600"/>
              <a:gd name="connsiteX45" fmla="*/ 1233840 w 8911685"/>
              <a:gd name="connsiteY45" fmla="*/ 6341302 h 6861600"/>
              <a:gd name="connsiteX46" fmla="*/ 1327967 w 8911685"/>
              <a:gd name="connsiteY46" fmla="*/ 6341302 h 6861600"/>
              <a:gd name="connsiteX47" fmla="*/ 1345139 w 8911685"/>
              <a:gd name="connsiteY47" fmla="*/ 6377678 h 6861600"/>
              <a:gd name="connsiteX48" fmla="*/ 1390295 w 8911685"/>
              <a:gd name="connsiteY48" fmla="*/ 6377678 h 6861600"/>
              <a:gd name="connsiteX49" fmla="*/ 1308887 w 8911685"/>
              <a:gd name="connsiteY49" fmla="*/ 6194522 h 6861600"/>
              <a:gd name="connsiteX50" fmla="*/ 940009 w 8911685"/>
              <a:gd name="connsiteY50" fmla="*/ 6194522 h 6861600"/>
              <a:gd name="connsiteX51" fmla="*/ 940009 w 8911685"/>
              <a:gd name="connsiteY51" fmla="*/ 6377678 h 6861600"/>
              <a:gd name="connsiteX52" fmla="*/ 979441 w 8911685"/>
              <a:gd name="connsiteY52" fmla="*/ 6377678 h 6861600"/>
              <a:gd name="connsiteX53" fmla="*/ 979441 w 8911685"/>
              <a:gd name="connsiteY53" fmla="*/ 6272379 h 6861600"/>
              <a:gd name="connsiteX54" fmla="*/ 1026505 w 8911685"/>
              <a:gd name="connsiteY54" fmla="*/ 6377678 h 6861600"/>
              <a:gd name="connsiteX55" fmla="*/ 1067844 w 8911685"/>
              <a:gd name="connsiteY55" fmla="*/ 6377678 h 6861600"/>
              <a:gd name="connsiteX56" fmla="*/ 1114908 w 8911685"/>
              <a:gd name="connsiteY56" fmla="*/ 6270465 h 6861600"/>
              <a:gd name="connsiteX57" fmla="*/ 1114908 w 8911685"/>
              <a:gd name="connsiteY57" fmla="*/ 6377678 h 6861600"/>
              <a:gd name="connsiteX58" fmla="*/ 1154340 w 8911685"/>
              <a:gd name="connsiteY58" fmla="*/ 6377678 h 6861600"/>
              <a:gd name="connsiteX59" fmla="*/ 1154340 w 8911685"/>
              <a:gd name="connsiteY59" fmla="*/ 6194522 h 6861600"/>
              <a:gd name="connsiteX60" fmla="*/ 1107276 w 8911685"/>
              <a:gd name="connsiteY60" fmla="*/ 6194522 h 6861600"/>
              <a:gd name="connsiteX61" fmla="*/ 1046857 w 8911685"/>
              <a:gd name="connsiteY61" fmla="*/ 6331730 h 6861600"/>
              <a:gd name="connsiteX62" fmla="*/ 987073 w 8911685"/>
              <a:gd name="connsiteY62" fmla="*/ 6194522 h 6861600"/>
              <a:gd name="connsiteX63" fmla="*/ 1853300 w 8911685"/>
              <a:gd name="connsiteY63" fmla="*/ 6193884 h 6861600"/>
              <a:gd name="connsiteX64" fmla="*/ 1825316 w 8911685"/>
              <a:gd name="connsiteY64" fmla="*/ 6222602 h 6861600"/>
              <a:gd name="connsiteX65" fmla="*/ 1825316 w 8911685"/>
              <a:gd name="connsiteY65" fmla="*/ 6276209 h 6861600"/>
              <a:gd name="connsiteX66" fmla="*/ 1853300 w 8911685"/>
              <a:gd name="connsiteY66" fmla="*/ 6303012 h 6861600"/>
              <a:gd name="connsiteX67" fmla="*/ 1955059 w 8911685"/>
              <a:gd name="connsiteY67" fmla="*/ 6303012 h 6861600"/>
              <a:gd name="connsiteX68" fmla="*/ 1955059 w 8911685"/>
              <a:gd name="connsiteY68" fmla="*/ 6341302 h 6861600"/>
              <a:gd name="connsiteX69" fmla="*/ 1866656 w 8911685"/>
              <a:gd name="connsiteY69" fmla="*/ 6341302 h 6861600"/>
              <a:gd name="connsiteX70" fmla="*/ 1866656 w 8911685"/>
              <a:gd name="connsiteY70" fmla="*/ 6327901 h 6861600"/>
              <a:gd name="connsiteX71" fmla="*/ 1823408 w 8911685"/>
              <a:gd name="connsiteY71" fmla="*/ 6327901 h 6861600"/>
              <a:gd name="connsiteX72" fmla="*/ 1823408 w 8911685"/>
              <a:gd name="connsiteY72" fmla="*/ 6350875 h 6861600"/>
              <a:gd name="connsiteX73" fmla="*/ 1851392 w 8911685"/>
              <a:gd name="connsiteY73" fmla="*/ 6377678 h 6861600"/>
              <a:gd name="connsiteX74" fmla="*/ 1866656 w 8911685"/>
              <a:gd name="connsiteY74" fmla="*/ 6377678 h 6861600"/>
              <a:gd name="connsiteX75" fmla="*/ 1968415 w 8911685"/>
              <a:gd name="connsiteY75" fmla="*/ 6377678 h 6861600"/>
              <a:gd name="connsiteX76" fmla="*/ 1996399 w 8911685"/>
              <a:gd name="connsiteY76" fmla="*/ 6348961 h 6861600"/>
              <a:gd name="connsiteX77" fmla="*/ 1996399 w 8911685"/>
              <a:gd name="connsiteY77" fmla="*/ 6297268 h 6861600"/>
              <a:gd name="connsiteX78" fmla="*/ 1968415 w 8911685"/>
              <a:gd name="connsiteY78" fmla="*/ 6266636 h 6861600"/>
              <a:gd name="connsiteX79" fmla="*/ 1866656 w 8911685"/>
              <a:gd name="connsiteY79" fmla="*/ 6266636 h 6861600"/>
              <a:gd name="connsiteX80" fmla="*/ 1866656 w 8911685"/>
              <a:gd name="connsiteY80" fmla="*/ 6230260 h 6861600"/>
              <a:gd name="connsiteX81" fmla="*/ 1955059 w 8911685"/>
              <a:gd name="connsiteY81" fmla="*/ 6230260 h 6861600"/>
              <a:gd name="connsiteX82" fmla="*/ 1955059 w 8911685"/>
              <a:gd name="connsiteY82" fmla="*/ 6245576 h 6861600"/>
              <a:gd name="connsiteX83" fmla="*/ 1996399 w 8911685"/>
              <a:gd name="connsiteY83" fmla="*/ 6245576 h 6861600"/>
              <a:gd name="connsiteX84" fmla="*/ 1996399 w 8911685"/>
              <a:gd name="connsiteY84" fmla="*/ 6224516 h 6861600"/>
              <a:gd name="connsiteX85" fmla="*/ 1970323 w 8911685"/>
              <a:gd name="connsiteY85" fmla="*/ 6193884 h 6861600"/>
              <a:gd name="connsiteX86" fmla="*/ 423579 w 8911685"/>
              <a:gd name="connsiteY86" fmla="*/ 6077736 h 6861600"/>
              <a:gd name="connsiteX87" fmla="*/ 378423 w 8911685"/>
              <a:gd name="connsiteY87" fmla="*/ 6125599 h 6861600"/>
              <a:gd name="connsiteX88" fmla="*/ 378423 w 8911685"/>
              <a:gd name="connsiteY88" fmla="*/ 6446601 h 6861600"/>
              <a:gd name="connsiteX89" fmla="*/ 423579 w 8911685"/>
              <a:gd name="connsiteY89" fmla="*/ 6494464 h 6861600"/>
              <a:gd name="connsiteX90" fmla="*/ 719317 w 8911685"/>
              <a:gd name="connsiteY90" fmla="*/ 6494464 h 6861600"/>
              <a:gd name="connsiteX91" fmla="*/ 766381 w 8911685"/>
              <a:gd name="connsiteY91" fmla="*/ 6446601 h 6861600"/>
              <a:gd name="connsiteX92" fmla="*/ 766381 w 8911685"/>
              <a:gd name="connsiteY92" fmla="*/ 6125599 h 6861600"/>
              <a:gd name="connsiteX93" fmla="*/ 719317 w 8911685"/>
              <a:gd name="connsiteY93" fmla="*/ 6077736 h 6861600"/>
              <a:gd name="connsiteX94" fmla="*/ 0 w 8911685"/>
              <a:gd name="connsiteY94" fmla="*/ 0 h 6861600"/>
              <a:gd name="connsiteX95" fmla="*/ 8911685 w 8911685"/>
              <a:gd name="connsiteY95" fmla="*/ 3551 h 6861600"/>
              <a:gd name="connsiteX96" fmla="*/ 8911685 w 8911685"/>
              <a:gd name="connsiteY96" fmla="*/ 6021290 h 6861600"/>
              <a:gd name="connsiteX97" fmla="*/ 8157291 w 8911685"/>
              <a:gd name="connsiteY97" fmla="*/ 6857262 h 6861600"/>
              <a:gd name="connsiteX98" fmla="*/ 8071384 w 8911685"/>
              <a:gd name="connsiteY98" fmla="*/ 6861600 h 6861600"/>
              <a:gd name="connsiteX99" fmla="*/ 0 w 8911685"/>
              <a:gd name="connsiteY99"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8911685" h="6861600">
                <a:moveTo>
                  <a:pt x="1657413" y="6230260"/>
                </a:moveTo>
                <a:lnTo>
                  <a:pt x="1747724" y="6230260"/>
                </a:lnTo>
                <a:lnTo>
                  <a:pt x="1747724" y="6278123"/>
                </a:lnTo>
                <a:lnTo>
                  <a:pt x="1657413" y="6278123"/>
                </a:lnTo>
                <a:close/>
                <a:moveTo>
                  <a:pt x="1280903" y="6228345"/>
                </a:moveTo>
                <a:lnTo>
                  <a:pt x="1312703" y="6306841"/>
                </a:lnTo>
                <a:lnTo>
                  <a:pt x="1249104" y="6306841"/>
                </a:lnTo>
                <a:close/>
                <a:moveTo>
                  <a:pt x="2035831" y="6194522"/>
                </a:moveTo>
                <a:lnTo>
                  <a:pt x="2035831" y="6377678"/>
                </a:lnTo>
                <a:lnTo>
                  <a:pt x="2079715" y="6377678"/>
                </a:lnTo>
                <a:lnTo>
                  <a:pt x="2079715" y="6293439"/>
                </a:lnTo>
                <a:lnTo>
                  <a:pt x="2162394" y="6377678"/>
                </a:lnTo>
                <a:lnTo>
                  <a:pt x="2222814" y="6377678"/>
                </a:lnTo>
                <a:lnTo>
                  <a:pt x="2122963" y="6280037"/>
                </a:lnTo>
                <a:lnTo>
                  <a:pt x="2218998" y="6194522"/>
                </a:lnTo>
                <a:lnTo>
                  <a:pt x="2160486" y="6194522"/>
                </a:lnTo>
                <a:lnTo>
                  <a:pt x="2079715" y="6268550"/>
                </a:lnTo>
                <a:lnTo>
                  <a:pt x="2079715" y="6194522"/>
                </a:lnTo>
                <a:close/>
                <a:moveTo>
                  <a:pt x="1614165" y="6194522"/>
                </a:moveTo>
                <a:lnTo>
                  <a:pt x="1614165" y="6377678"/>
                </a:lnTo>
                <a:lnTo>
                  <a:pt x="1657413" y="6377678"/>
                </a:lnTo>
                <a:lnTo>
                  <a:pt x="1657413" y="6314499"/>
                </a:lnTo>
                <a:lnTo>
                  <a:pt x="1704477" y="6314499"/>
                </a:lnTo>
                <a:lnTo>
                  <a:pt x="1743908" y="6377678"/>
                </a:lnTo>
                <a:lnTo>
                  <a:pt x="1790972" y="6377678"/>
                </a:lnTo>
                <a:lnTo>
                  <a:pt x="1749632" y="6314499"/>
                </a:lnTo>
                <a:lnTo>
                  <a:pt x="1753448" y="6314499"/>
                </a:lnTo>
                <a:cubicBezTo>
                  <a:pt x="1777616" y="6314499"/>
                  <a:pt x="1789064" y="6301097"/>
                  <a:pt x="1789064" y="6285781"/>
                </a:cubicBezTo>
                <a:lnTo>
                  <a:pt x="1789064" y="6225154"/>
                </a:lnTo>
                <a:cubicBezTo>
                  <a:pt x="1789064" y="6206009"/>
                  <a:pt x="1777616" y="6194522"/>
                  <a:pt x="1759172" y="6194522"/>
                </a:cubicBezTo>
                <a:close/>
                <a:moveTo>
                  <a:pt x="1408738" y="6194522"/>
                </a:moveTo>
                <a:lnTo>
                  <a:pt x="1408738" y="6377678"/>
                </a:lnTo>
                <a:lnTo>
                  <a:pt x="1582365" y="6377678"/>
                </a:lnTo>
                <a:lnTo>
                  <a:pt x="1582365" y="6341302"/>
                </a:lnTo>
                <a:lnTo>
                  <a:pt x="1450078" y="6341302"/>
                </a:lnTo>
                <a:lnTo>
                  <a:pt x="1450078" y="6303012"/>
                </a:lnTo>
                <a:lnTo>
                  <a:pt x="1563285" y="6303012"/>
                </a:lnTo>
                <a:lnTo>
                  <a:pt x="1563285" y="6266636"/>
                </a:lnTo>
                <a:lnTo>
                  <a:pt x="1450078" y="6266636"/>
                </a:lnTo>
                <a:lnTo>
                  <a:pt x="1450078" y="6230260"/>
                </a:lnTo>
                <a:lnTo>
                  <a:pt x="1580457" y="6230260"/>
                </a:lnTo>
                <a:lnTo>
                  <a:pt x="1580457" y="6194522"/>
                </a:lnTo>
                <a:close/>
                <a:moveTo>
                  <a:pt x="1252284" y="6194522"/>
                </a:moveTo>
                <a:lnTo>
                  <a:pt x="1171512" y="6377678"/>
                </a:lnTo>
                <a:lnTo>
                  <a:pt x="1218576" y="6377678"/>
                </a:lnTo>
                <a:lnTo>
                  <a:pt x="1233840" y="6341302"/>
                </a:lnTo>
                <a:lnTo>
                  <a:pt x="1327967" y="6341302"/>
                </a:lnTo>
                <a:lnTo>
                  <a:pt x="1345139" y="6377678"/>
                </a:lnTo>
                <a:lnTo>
                  <a:pt x="1390295" y="6377678"/>
                </a:lnTo>
                <a:lnTo>
                  <a:pt x="1308887" y="6194522"/>
                </a:lnTo>
                <a:close/>
                <a:moveTo>
                  <a:pt x="940009" y="6194522"/>
                </a:moveTo>
                <a:lnTo>
                  <a:pt x="940009" y="6377678"/>
                </a:lnTo>
                <a:lnTo>
                  <a:pt x="979441" y="6377678"/>
                </a:lnTo>
                <a:lnTo>
                  <a:pt x="979441" y="6272379"/>
                </a:lnTo>
                <a:lnTo>
                  <a:pt x="1026505" y="6377678"/>
                </a:lnTo>
                <a:lnTo>
                  <a:pt x="1067844" y="6377678"/>
                </a:lnTo>
                <a:lnTo>
                  <a:pt x="1114908" y="6270465"/>
                </a:lnTo>
                <a:lnTo>
                  <a:pt x="1114908" y="6377678"/>
                </a:lnTo>
                <a:lnTo>
                  <a:pt x="1154340" y="6377678"/>
                </a:lnTo>
                <a:lnTo>
                  <a:pt x="1154340" y="6194522"/>
                </a:lnTo>
                <a:lnTo>
                  <a:pt x="1107276" y="6194522"/>
                </a:lnTo>
                <a:lnTo>
                  <a:pt x="1046857" y="6331730"/>
                </a:lnTo>
                <a:lnTo>
                  <a:pt x="987073" y="6194522"/>
                </a:lnTo>
                <a:close/>
                <a:moveTo>
                  <a:pt x="1853300" y="6193884"/>
                </a:moveTo>
                <a:cubicBezTo>
                  <a:pt x="1838672" y="6193884"/>
                  <a:pt x="1825316" y="6205371"/>
                  <a:pt x="1825316" y="6222602"/>
                </a:cubicBezTo>
                <a:lnTo>
                  <a:pt x="1825316" y="6276209"/>
                </a:lnTo>
                <a:cubicBezTo>
                  <a:pt x="1825316" y="6291525"/>
                  <a:pt x="1836128" y="6303012"/>
                  <a:pt x="1853300" y="6303012"/>
                </a:cubicBezTo>
                <a:lnTo>
                  <a:pt x="1955059" y="6303012"/>
                </a:lnTo>
                <a:lnTo>
                  <a:pt x="1955059" y="6341302"/>
                </a:lnTo>
                <a:lnTo>
                  <a:pt x="1866656" y="6341302"/>
                </a:lnTo>
                <a:lnTo>
                  <a:pt x="1866656" y="6327901"/>
                </a:lnTo>
                <a:lnTo>
                  <a:pt x="1823408" y="6327901"/>
                </a:lnTo>
                <a:lnTo>
                  <a:pt x="1823408" y="6350875"/>
                </a:lnTo>
                <a:cubicBezTo>
                  <a:pt x="1823408" y="6366191"/>
                  <a:pt x="1832312" y="6377678"/>
                  <a:pt x="1851392" y="6377678"/>
                </a:cubicBezTo>
                <a:lnTo>
                  <a:pt x="1866656" y="6377678"/>
                </a:lnTo>
                <a:lnTo>
                  <a:pt x="1968415" y="6377678"/>
                </a:lnTo>
                <a:cubicBezTo>
                  <a:pt x="1986859" y="6377678"/>
                  <a:pt x="1996399" y="6366191"/>
                  <a:pt x="1996399" y="6348961"/>
                </a:cubicBezTo>
                <a:lnTo>
                  <a:pt x="1996399" y="6297268"/>
                </a:lnTo>
                <a:cubicBezTo>
                  <a:pt x="1996399" y="6278123"/>
                  <a:pt x="1983679" y="6266636"/>
                  <a:pt x="1968415" y="6266636"/>
                </a:cubicBezTo>
                <a:lnTo>
                  <a:pt x="1866656" y="6266636"/>
                </a:lnTo>
                <a:lnTo>
                  <a:pt x="1866656" y="6230260"/>
                </a:lnTo>
                <a:lnTo>
                  <a:pt x="1955059" y="6230260"/>
                </a:lnTo>
                <a:lnTo>
                  <a:pt x="1955059" y="6245576"/>
                </a:lnTo>
                <a:lnTo>
                  <a:pt x="1996399" y="6245576"/>
                </a:lnTo>
                <a:lnTo>
                  <a:pt x="1996399" y="6224516"/>
                </a:lnTo>
                <a:cubicBezTo>
                  <a:pt x="1996399" y="6205371"/>
                  <a:pt x="1985587" y="6193884"/>
                  <a:pt x="1970323" y="6193884"/>
                </a:cubicBezTo>
                <a:close/>
                <a:moveTo>
                  <a:pt x="423579" y="6077736"/>
                </a:moveTo>
                <a:cubicBezTo>
                  <a:pt x="399411" y="6077736"/>
                  <a:pt x="378423" y="6098796"/>
                  <a:pt x="378423" y="6125599"/>
                </a:cubicBezTo>
                <a:lnTo>
                  <a:pt x="378423" y="6446601"/>
                </a:lnTo>
                <a:cubicBezTo>
                  <a:pt x="378423" y="6473405"/>
                  <a:pt x="399411" y="6494464"/>
                  <a:pt x="423579" y="6494464"/>
                </a:cubicBezTo>
                <a:lnTo>
                  <a:pt x="719317" y="6494464"/>
                </a:lnTo>
                <a:cubicBezTo>
                  <a:pt x="745393" y="6494464"/>
                  <a:pt x="766381" y="6473405"/>
                  <a:pt x="766381" y="6446601"/>
                </a:cubicBezTo>
                <a:lnTo>
                  <a:pt x="766381" y="6125599"/>
                </a:lnTo>
                <a:cubicBezTo>
                  <a:pt x="766381" y="6098796"/>
                  <a:pt x="745393" y="6077736"/>
                  <a:pt x="719317" y="6077736"/>
                </a:cubicBezTo>
                <a:close/>
                <a:moveTo>
                  <a:pt x="0" y="0"/>
                </a:moveTo>
                <a:lnTo>
                  <a:pt x="8911685" y="3551"/>
                </a:lnTo>
                <a:lnTo>
                  <a:pt x="8911685" y="6021290"/>
                </a:lnTo>
                <a:cubicBezTo>
                  <a:pt x="8911685" y="6456375"/>
                  <a:pt x="8581023" y="6814230"/>
                  <a:pt x="8157291" y="6857262"/>
                </a:cubicBezTo>
                <a:lnTo>
                  <a:pt x="8071384"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26" name="Title 1">
            <a:extLst>
              <a:ext uri="{FF2B5EF4-FFF2-40B4-BE49-F238E27FC236}">
                <a16:creationId xmlns:a16="http://schemas.microsoft.com/office/drawing/2014/main" id="{59257972-5121-7C61-D1A1-B1409EF2A531}"/>
              </a:ext>
            </a:extLst>
          </p:cNvPr>
          <p:cNvSpPr>
            <a:spLocks noGrp="1"/>
          </p:cNvSpPr>
          <p:nvPr>
            <p:ph type="ctrTitle" hasCustomPrompt="1"/>
          </p:nvPr>
        </p:nvSpPr>
        <p:spPr>
          <a:xfrm>
            <a:off x="371475" y="4267733"/>
            <a:ext cx="7962297" cy="1634060"/>
          </a:xfrm>
        </p:spPr>
        <p:txBody>
          <a:bodyPr anchor="t"/>
          <a:lstStyle>
            <a:lvl1pPr algn="l">
              <a:lnSpc>
                <a:spcPts val="5800"/>
              </a:lnSpc>
              <a:defRPr sz="4400">
                <a:solidFill>
                  <a:schemeClr val="bg1"/>
                </a:solidFill>
              </a:defRPr>
            </a:lvl1pPr>
          </a:lstStyle>
          <a:p>
            <a:r>
              <a:rPr lang="en-GB" dirty="0"/>
              <a:t>Click to add title</a:t>
            </a:r>
          </a:p>
        </p:txBody>
      </p:sp>
      <p:pic>
        <p:nvPicPr>
          <p:cNvPr id="42" name="Graphic 41">
            <a:extLst>
              <a:ext uri="{FF2B5EF4-FFF2-40B4-BE49-F238E27FC236}">
                <a16:creationId xmlns:a16="http://schemas.microsoft.com/office/drawing/2014/main" id="{49281D49-4670-0E53-673C-C91C58475BB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8775" y="6055614"/>
            <a:ext cx="1863471" cy="459486"/>
          </a:xfrm>
          <a:prstGeom prst="rect">
            <a:avLst/>
          </a:prstGeom>
        </p:spPr>
      </p:pic>
    </p:spTree>
    <p:extLst>
      <p:ext uri="{BB962C8B-B14F-4D97-AF65-F5344CB8AC3E}">
        <p14:creationId xmlns:p14="http://schemas.microsoft.com/office/powerpoint/2010/main" val="11148003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F7482-EFEE-BE1E-056C-ECEF36573A2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DK"/>
          </a:p>
        </p:txBody>
      </p:sp>
      <p:sp>
        <p:nvSpPr>
          <p:cNvPr id="3" name="Content Placeholder 2">
            <a:extLst>
              <a:ext uri="{FF2B5EF4-FFF2-40B4-BE49-F238E27FC236}">
                <a16:creationId xmlns:a16="http://schemas.microsoft.com/office/drawing/2014/main" id="{7DDC1EBE-08D8-4337-EABE-16B4B7860E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4" name="Text Placeholder 3">
            <a:extLst>
              <a:ext uri="{FF2B5EF4-FFF2-40B4-BE49-F238E27FC236}">
                <a16:creationId xmlns:a16="http://schemas.microsoft.com/office/drawing/2014/main" id="{AFB71913-B880-122B-1952-E296432DDC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EB51959-4D5A-0D62-90EB-330DE6A77BB2}"/>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6" name="Footer Placeholder 5">
            <a:extLst>
              <a:ext uri="{FF2B5EF4-FFF2-40B4-BE49-F238E27FC236}">
                <a16:creationId xmlns:a16="http://schemas.microsoft.com/office/drawing/2014/main" id="{751E79D7-D5F4-EDDF-7150-18A4AAB0C415}"/>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B650A3DA-54ED-9B0D-90FB-1F1DD1DCE687}"/>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22224073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5D0D-A2EB-0F50-34BB-D56DB66E612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DK"/>
          </a:p>
        </p:txBody>
      </p:sp>
      <p:sp>
        <p:nvSpPr>
          <p:cNvPr id="3" name="Picture Placeholder 2">
            <a:extLst>
              <a:ext uri="{FF2B5EF4-FFF2-40B4-BE49-F238E27FC236}">
                <a16:creationId xmlns:a16="http://schemas.microsoft.com/office/drawing/2014/main" id="{D7501EBD-FDE4-26E4-42CF-28FD927A15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DK"/>
          </a:p>
        </p:txBody>
      </p:sp>
      <p:sp>
        <p:nvSpPr>
          <p:cNvPr id="4" name="Text Placeholder 3">
            <a:extLst>
              <a:ext uri="{FF2B5EF4-FFF2-40B4-BE49-F238E27FC236}">
                <a16:creationId xmlns:a16="http://schemas.microsoft.com/office/drawing/2014/main" id="{973BD985-DBE5-0650-0FCA-39FFA7E785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D90E266-4794-AA79-7C3E-88453C4EC6A0}"/>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6" name="Footer Placeholder 5">
            <a:extLst>
              <a:ext uri="{FF2B5EF4-FFF2-40B4-BE49-F238E27FC236}">
                <a16:creationId xmlns:a16="http://schemas.microsoft.com/office/drawing/2014/main" id="{9F196D4A-3763-D647-76D3-D9734F7FA9A7}"/>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1FA27C30-8100-BD95-A08D-83B367A80BF6}"/>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5410448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A942B-96F6-AD29-8938-97AD0AFE7F14}"/>
              </a:ext>
            </a:extLst>
          </p:cNvPr>
          <p:cNvSpPr>
            <a:spLocks noGrp="1"/>
          </p:cNvSpPr>
          <p:nvPr>
            <p:ph type="title"/>
          </p:nvPr>
        </p:nvSpPr>
        <p:spPr/>
        <p:txBody>
          <a:bodyPr/>
          <a:lstStyle/>
          <a:p>
            <a:r>
              <a:rPr lang="en-GB"/>
              <a:t>Click to edit Master title style</a:t>
            </a:r>
            <a:endParaRPr lang="en-DK"/>
          </a:p>
        </p:txBody>
      </p:sp>
      <p:sp>
        <p:nvSpPr>
          <p:cNvPr id="3" name="Vertical Text Placeholder 2">
            <a:extLst>
              <a:ext uri="{FF2B5EF4-FFF2-40B4-BE49-F238E27FC236}">
                <a16:creationId xmlns:a16="http://schemas.microsoft.com/office/drawing/2014/main" id="{87A9F09E-2D65-517F-0A80-7F8053EB36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4" name="Date Placeholder 3">
            <a:extLst>
              <a:ext uri="{FF2B5EF4-FFF2-40B4-BE49-F238E27FC236}">
                <a16:creationId xmlns:a16="http://schemas.microsoft.com/office/drawing/2014/main" id="{AAA0560C-267C-288A-585C-1BBFE4EABB56}"/>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5" name="Footer Placeholder 4">
            <a:extLst>
              <a:ext uri="{FF2B5EF4-FFF2-40B4-BE49-F238E27FC236}">
                <a16:creationId xmlns:a16="http://schemas.microsoft.com/office/drawing/2014/main" id="{CE2DAD20-551D-A034-AFA1-B5BEC139ABDC}"/>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EDC24222-1766-F09F-5442-FF74E02C8559}"/>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27845343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C7DD35-8501-88F6-99C5-889B201C399D}"/>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DK"/>
          </a:p>
        </p:txBody>
      </p:sp>
      <p:sp>
        <p:nvSpPr>
          <p:cNvPr id="3" name="Vertical Text Placeholder 2">
            <a:extLst>
              <a:ext uri="{FF2B5EF4-FFF2-40B4-BE49-F238E27FC236}">
                <a16:creationId xmlns:a16="http://schemas.microsoft.com/office/drawing/2014/main" id="{5D92BC86-17EB-BC3B-2D3C-2E32E2FCEC0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4" name="Date Placeholder 3">
            <a:extLst>
              <a:ext uri="{FF2B5EF4-FFF2-40B4-BE49-F238E27FC236}">
                <a16:creationId xmlns:a16="http://schemas.microsoft.com/office/drawing/2014/main" id="{A450220D-81A8-B79F-74C8-50A865EDA624}"/>
              </a:ext>
            </a:extLst>
          </p:cNvPr>
          <p:cNvSpPr>
            <a:spLocks noGrp="1"/>
          </p:cNvSpPr>
          <p:nvPr>
            <p:ph type="dt" sz="half" idx="10"/>
          </p:nvPr>
        </p:nvSpPr>
        <p:spPr/>
        <p:txBody>
          <a:bodyPr/>
          <a:lstStyle/>
          <a:p>
            <a:fld id="{5E45E821-59C2-4E59-8C0B-680688E9B244}" type="datetimeFigureOut">
              <a:rPr lang="en-DK" smtClean="0"/>
              <a:t>10/1/25</a:t>
            </a:fld>
            <a:endParaRPr lang="en-DK"/>
          </a:p>
        </p:txBody>
      </p:sp>
      <p:sp>
        <p:nvSpPr>
          <p:cNvPr id="5" name="Footer Placeholder 4">
            <a:extLst>
              <a:ext uri="{FF2B5EF4-FFF2-40B4-BE49-F238E27FC236}">
                <a16:creationId xmlns:a16="http://schemas.microsoft.com/office/drawing/2014/main" id="{31EF41AD-F691-5062-CEB3-7F8A0455A7B9}"/>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C287CF17-60D1-BF8E-4211-0ABA813F4FDF}"/>
              </a:ext>
            </a:extLst>
          </p:cNvPr>
          <p:cNvSpPr>
            <a:spLocks noGrp="1"/>
          </p:cNvSpPr>
          <p:nvPr>
            <p:ph type="sldNum" sz="quarter" idx="12"/>
          </p:nvPr>
        </p:nvSpPr>
        <p:spPr/>
        <p:txBody>
          <a:bodyPr/>
          <a:lstStyle/>
          <a:p>
            <a:fld id="{9E31FF26-17A8-4C52-A8BC-8A1C1B61DD2B}" type="slidenum">
              <a:rPr lang="en-DK" smtClean="0"/>
              <a:t>‹#›</a:t>
            </a:fld>
            <a:endParaRPr lang="en-DK"/>
          </a:p>
        </p:txBody>
      </p:sp>
    </p:spTree>
    <p:extLst>
      <p:ext uri="{BB962C8B-B14F-4D97-AF65-F5344CB8AC3E}">
        <p14:creationId xmlns:p14="http://schemas.microsoft.com/office/powerpoint/2010/main" val="28753193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
    <p:bg>
      <p:bgPr>
        <a:solidFill>
          <a:schemeClr val="accent1"/>
        </a:solidFill>
        <a:effectLst/>
      </p:bgPr>
    </p:bg>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BF8EABB9-2726-EF25-A159-0DADAA8F8337}"/>
              </a:ext>
            </a:extLst>
          </p:cNvPr>
          <p:cNvSpPr/>
          <p:nvPr userDrawn="1"/>
        </p:nvSpPr>
        <p:spPr>
          <a:xfrm>
            <a:off x="10091738" y="5721531"/>
            <a:ext cx="1847713" cy="44431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001" sz="2000" noProof="0" err="1"/>
          </a:p>
        </p:txBody>
      </p:sp>
      <p:pic>
        <p:nvPicPr>
          <p:cNvPr id="54" name="Graphic 53">
            <a:extLst>
              <a:ext uri="{FF2B5EF4-FFF2-40B4-BE49-F238E27FC236}">
                <a16:creationId xmlns:a16="http://schemas.microsoft.com/office/drawing/2014/main" id="{437E6E57-6C0D-F296-9901-9A036BA9AA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5600" y="5731764"/>
            <a:ext cx="1863471" cy="459486"/>
          </a:xfrm>
          <a:prstGeom prst="rect">
            <a:avLst/>
          </a:prstGeom>
        </p:spPr>
      </p:pic>
      <p:sp>
        <p:nvSpPr>
          <p:cNvPr id="53" name="Picture Placeholder 52">
            <a:extLst>
              <a:ext uri="{FF2B5EF4-FFF2-40B4-BE49-F238E27FC236}">
                <a16:creationId xmlns:a16="http://schemas.microsoft.com/office/drawing/2014/main" id="{8E3190AD-F65F-D344-41C3-4517CA239196}"/>
              </a:ext>
            </a:extLst>
          </p:cNvPr>
          <p:cNvSpPr>
            <a:spLocks noGrp="1"/>
          </p:cNvSpPr>
          <p:nvPr>
            <p:ph type="pic" sz="quarter" idx="13" hasCustomPrompt="1"/>
          </p:nvPr>
        </p:nvSpPr>
        <p:spPr>
          <a:xfrm>
            <a:off x="0" y="0"/>
            <a:ext cx="12193200" cy="6861600"/>
          </a:xfrm>
          <a:custGeom>
            <a:avLst/>
            <a:gdLst>
              <a:gd name="connsiteX0" fmla="*/ 1656213 w 12193200"/>
              <a:gd name="connsiteY0" fmla="*/ 5905985 h 6861600"/>
              <a:gd name="connsiteX1" fmla="*/ 1746524 w 12193200"/>
              <a:gd name="connsiteY1" fmla="*/ 5905985 h 6861600"/>
              <a:gd name="connsiteX2" fmla="*/ 1746524 w 12193200"/>
              <a:gd name="connsiteY2" fmla="*/ 5953848 h 6861600"/>
              <a:gd name="connsiteX3" fmla="*/ 1656213 w 12193200"/>
              <a:gd name="connsiteY3" fmla="*/ 5953848 h 6861600"/>
              <a:gd name="connsiteX4" fmla="*/ 1279703 w 12193200"/>
              <a:gd name="connsiteY4" fmla="*/ 5904070 h 6861600"/>
              <a:gd name="connsiteX5" fmla="*/ 1311503 w 12193200"/>
              <a:gd name="connsiteY5" fmla="*/ 5982566 h 6861600"/>
              <a:gd name="connsiteX6" fmla="*/ 1247904 w 12193200"/>
              <a:gd name="connsiteY6" fmla="*/ 5982566 h 6861600"/>
              <a:gd name="connsiteX7" fmla="*/ 11590810 w 12193200"/>
              <a:gd name="connsiteY7" fmla="*/ 5903366 h 6861600"/>
              <a:gd name="connsiteX8" fmla="*/ 11609065 w 12193200"/>
              <a:gd name="connsiteY8" fmla="*/ 5903366 h 6861600"/>
              <a:gd name="connsiteX9" fmla="*/ 11621841 w 12193200"/>
              <a:gd name="connsiteY9" fmla="*/ 5970409 h 6861600"/>
              <a:gd name="connsiteX10" fmla="*/ 11578548 w 12193200"/>
              <a:gd name="connsiteY10" fmla="*/ 5970409 h 6861600"/>
              <a:gd name="connsiteX11" fmla="*/ 10356904 w 12193200"/>
              <a:gd name="connsiteY11" fmla="*/ 5903366 h 6861600"/>
              <a:gd name="connsiteX12" fmla="*/ 10375160 w 12193200"/>
              <a:gd name="connsiteY12" fmla="*/ 5903366 h 6861600"/>
              <a:gd name="connsiteX13" fmla="*/ 10387940 w 12193200"/>
              <a:gd name="connsiteY13" fmla="*/ 5970409 h 6861600"/>
              <a:gd name="connsiteX14" fmla="*/ 10344647 w 12193200"/>
              <a:gd name="connsiteY14" fmla="*/ 5970409 h 6861600"/>
              <a:gd name="connsiteX15" fmla="*/ 2034631 w 12193200"/>
              <a:gd name="connsiteY15" fmla="*/ 5870247 h 6861600"/>
              <a:gd name="connsiteX16" fmla="*/ 2034631 w 12193200"/>
              <a:gd name="connsiteY16" fmla="*/ 6053403 h 6861600"/>
              <a:gd name="connsiteX17" fmla="*/ 2078515 w 12193200"/>
              <a:gd name="connsiteY17" fmla="*/ 6053403 h 6861600"/>
              <a:gd name="connsiteX18" fmla="*/ 2078515 w 12193200"/>
              <a:gd name="connsiteY18" fmla="*/ 5969164 h 6861600"/>
              <a:gd name="connsiteX19" fmla="*/ 2161194 w 12193200"/>
              <a:gd name="connsiteY19" fmla="*/ 6053403 h 6861600"/>
              <a:gd name="connsiteX20" fmla="*/ 2221614 w 12193200"/>
              <a:gd name="connsiteY20" fmla="*/ 6053403 h 6861600"/>
              <a:gd name="connsiteX21" fmla="*/ 2121763 w 12193200"/>
              <a:gd name="connsiteY21" fmla="*/ 5955762 h 6861600"/>
              <a:gd name="connsiteX22" fmla="*/ 2217798 w 12193200"/>
              <a:gd name="connsiteY22" fmla="*/ 5870247 h 6861600"/>
              <a:gd name="connsiteX23" fmla="*/ 2159286 w 12193200"/>
              <a:gd name="connsiteY23" fmla="*/ 5870247 h 6861600"/>
              <a:gd name="connsiteX24" fmla="*/ 2078515 w 12193200"/>
              <a:gd name="connsiteY24" fmla="*/ 5944275 h 6861600"/>
              <a:gd name="connsiteX25" fmla="*/ 2078515 w 12193200"/>
              <a:gd name="connsiteY25" fmla="*/ 5870247 h 6861600"/>
              <a:gd name="connsiteX26" fmla="*/ 1612965 w 12193200"/>
              <a:gd name="connsiteY26" fmla="*/ 5870247 h 6861600"/>
              <a:gd name="connsiteX27" fmla="*/ 1612965 w 12193200"/>
              <a:gd name="connsiteY27" fmla="*/ 6053403 h 6861600"/>
              <a:gd name="connsiteX28" fmla="*/ 1656213 w 12193200"/>
              <a:gd name="connsiteY28" fmla="*/ 6053403 h 6861600"/>
              <a:gd name="connsiteX29" fmla="*/ 1656213 w 12193200"/>
              <a:gd name="connsiteY29" fmla="*/ 5990224 h 6861600"/>
              <a:gd name="connsiteX30" fmla="*/ 1703277 w 12193200"/>
              <a:gd name="connsiteY30" fmla="*/ 5990224 h 6861600"/>
              <a:gd name="connsiteX31" fmla="*/ 1742708 w 12193200"/>
              <a:gd name="connsiteY31" fmla="*/ 6053403 h 6861600"/>
              <a:gd name="connsiteX32" fmla="*/ 1789772 w 12193200"/>
              <a:gd name="connsiteY32" fmla="*/ 6053403 h 6861600"/>
              <a:gd name="connsiteX33" fmla="*/ 1748432 w 12193200"/>
              <a:gd name="connsiteY33" fmla="*/ 5990224 h 6861600"/>
              <a:gd name="connsiteX34" fmla="*/ 1752248 w 12193200"/>
              <a:gd name="connsiteY34" fmla="*/ 5990224 h 6861600"/>
              <a:gd name="connsiteX35" fmla="*/ 1787864 w 12193200"/>
              <a:gd name="connsiteY35" fmla="*/ 5961506 h 6861600"/>
              <a:gd name="connsiteX36" fmla="*/ 1787864 w 12193200"/>
              <a:gd name="connsiteY36" fmla="*/ 5900879 h 6861600"/>
              <a:gd name="connsiteX37" fmla="*/ 1757972 w 12193200"/>
              <a:gd name="connsiteY37" fmla="*/ 5870247 h 6861600"/>
              <a:gd name="connsiteX38" fmla="*/ 1407538 w 12193200"/>
              <a:gd name="connsiteY38" fmla="*/ 5870247 h 6861600"/>
              <a:gd name="connsiteX39" fmla="*/ 1407538 w 12193200"/>
              <a:gd name="connsiteY39" fmla="*/ 6053403 h 6861600"/>
              <a:gd name="connsiteX40" fmla="*/ 1581165 w 12193200"/>
              <a:gd name="connsiteY40" fmla="*/ 6053403 h 6861600"/>
              <a:gd name="connsiteX41" fmla="*/ 1581165 w 12193200"/>
              <a:gd name="connsiteY41" fmla="*/ 6017027 h 6861600"/>
              <a:gd name="connsiteX42" fmla="*/ 1448878 w 12193200"/>
              <a:gd name="connsiteY42" fmla="*/ 6017027 h 6861600"/>
              <a:gd name="connsiteX43" fmla="*/ 1448878 w 12193200"/>
              <a:gd name="connsiteY43" fmla="*/ 5978737 h 6861600"/>
              <a:gd name="connsiteX44" fmla="*/ 1562085 w 12193200"/>
              <a:gd name="connsiteY44" fmla="*/ 5978737 h 6861600"/>
              <a:gd name="connsiteX45" fmla="*/ 1562085 w 12193200"/>
              <a:gd name="connsiteY45" fmla="*/ 5942361 h 6861600"/>
              <a:gd name="connsiteX46" fmla="*/ 1448878 w 12193200"/>
              <a:gd name="connsiteY46" fmla="*/ 5942361 h 6861600"/>
              <a:gd name="connsiteX47" fmla="*/ 1448878 w 12193200"/>
              <a:gd name="connsiteY47" fmla="*/ 5905985 h 6861600"/>
              <a:gd name="connsiteX48" fmla="*/ 1579257 w 12193200"/>
              <a:gd name="connsiteY48" fmla="*/ 5905985 h 6861600"/>
              <a:gd name="connsiteX49" fmla="*/ 1579257 w 12193200"/>
              <a:gd name="connsiteY49" fmla="*/ 5870247 h 6861600"/>
              <a:gd name="connsiteX50" fmla="*/ 1251084 w 12193200"/>
              <a:gd name="connsiteY50" fmla="*/ 5870247 h 6861600"/>
              <a:gd name="connsiteX51" fmla="*/ 1170312 w 12193200"/>
              <a:gd name="connsiteY51" fmla="*/ 6053403 h 6861600"/>
              <a:gd name="connsiteX52" fmla="*/ 1217376 w 12193200"/>
              <a:gd name="connsiteY52" fmla="*/ 6053403 h 6861600"/>
              <a:gd name="connsiteX53" fmla="*/ 1232640 w 12193200"/>
              <a:gd name="connsiteY53" fmla="*/ 6017027 h 6861600"/>
              <a:gd name="connsiteX54" fmla="*/ 1326767 w 12193200"/>
              <a:gd name="connsiteY54" fmla="*/ 6017027 h 6861600"/>
              <a:gd name="connsiteX55" fmla="*/ 1343939 w 12193200"/>
              <a:gd name="connsiteY55" fmla="*/ 6053403 h 6861600"/>
              <a:gd name="connsiteX56" fmla="*/ 1389095 w 12193200"/>
              <a:gd name="connsiteY56" fmla="*/ 6053403 h 6861600"/>
              <a:gd name="connsiteX57" fmla="*/ 1307687 w 12193200"/>
              <a:gd name="connsiteY57" fmla="*/ 5870247 h 6861600"/>
              <a:gd name="connsiteX58" fmla="*/ 938809 w 12193200"/>
              <a:gd name="connsiteY58" fmla="*/ 5870247 h 6861600"/>
              <a:gd name="connsiteX59" fmla="*/ 938809 w 12193200"/>
              <a:gd name="connsiteY59" fmla="*/ 6053403 h 6861600"/>
              <a:gd name="connsiteX60" fmla="*/ 978241 w 12193200"/>
              <a:gd name="connsiteY60" fmla="*/ 6053403 h 6861600"/>
              <a:gd name="connsiteX61" fmla="*/ 978241 w 12193200"/>
              <a:gd name="connsiteY61" fmla="*/ 5948104 h 6861600"/>
              <a:gd name="connsiteX62" fmla="*/ 1025305 w 12193200"/>
              <a:gd name="connsiteY62" fmla="*/ 6053403 h 6861600"/>
              <a:gd name="connsiteX63" fmla="*/ 1066644 w 12193200"/>
              <a:gd name="connsiteY63" fmla="*/ 6053403 h 6861600"/>
              <a:gd name="connsiteX64" fmla="*/ 1113708 w 12193200"/>
              <a:gd name="connsiteY64" fmla="*/ 5946190 h 6861600"/>
              <a:gd name="connsiteX65" fmla="*/ 1113708 w 12193200"/>
              <a:gd name="connsiteY65" fmla="*/ 6053403 h 6861600"/>
              <a:gd name="connsiteX66" fmla="*/ 1153140 w 12193200"/>
              <a:gd name="connsiteY66" fmla="*/ 6053403 h 6861600"/>
              <a:gd name="connsiteX67" fmla="*/ 1153140 w 12193200"/>
              <a:gd name="connsiteY67" fmla="*/ 5870247 h 6861600"/>
              <a:gd name="connsiteX68" fmla="*/ 1106076 w 12193200"/>
              <a:gd name="connsiteY68" fmla="*/ 5870247 h 6861600"/>
              <a:gd name="connsiteX69" fmla="*/ 1045657 w 12193200"/>
              <a:gd name="connsiteY69" fmla="*/ 6007455 h 6861600"/>
              <a:gd name="connsiteX70" fmla="*/ 985873 w 12193200"/>
              <a:gd name="connsiteY70" fmla="*/ 5870247 h 6861600"/>
              <a:gd name="connsiteX71" fmla="*/ 1852100 w 12193200"/>
              <a:gd name="connsiteY71" fmla="*/ 5869609 h 6861600"/>
              <a:gd name="connsiteX72" fmla="*/ 1824116 w 12193200"/>
              <a:gd name="connsiteY72" fmla="*/ 5898327 h 6861600"/>
              <a:gd name="connsiteX73" fmla="*/ 1824116 w 12193200"/>
              <a:gd name="connsiteY73" fmla="*/ 5951934 h 6861600"/>
              <a:gd name="connsiteX74" fmla="*/ 1852100 w 12193200"/>
              <a:gd name="connsiteY74" fmla="*/ 5978737 h 6861600"/>
              <a:gd name="connsiteX75" fmla="*/ 1953859 w 12193200"/>
              <a:gd name="connsiteY75" fmla="*/ 5978737 h 6861600"/>
              <a:gd name="connsiteX76" fmla="*/ 1953859 w 12193200"/>
              <a:gd name="connsiteY76" fmla="*/ 6017027 h 6861600"/>
              <a:gd name="connsiteX77" fmla="*/ 1865456 w 12193200"/>
              <a:gd name="connsiteY77" fmla="*/ 6017027 h 6861600"/>
              <a:gd name="connsiteX78" fmla="*/ 1865456 w 12193200"/>
              <a:gd name="connsiteY78" fmla="*/ 6003626 h 6861600"/>
              <a:gd name="connsiteX79" fmla="*/ 1822208 w 12193200"/>
              <a:gd name="connsiteY79" fmla="*/ 6003626 h 6861600"/>
              <a:gd name="connsiteX80" fmla="*/ 1822208 w 12193200"/>
              <a:gd name="connsiteY80" fmla="*/ 6026600 h 6861600"/>
              <a:gd name="connsiteX81" fmla="*/ 1850192 w 12193200"/>
              <a:gd name="connsiteY81" fmla="*/ 6053403 h 6861600"/>
              <a:gd name="connsiteX82" fmla="*/ 1865456 w 12193200"/>
              <a:gd name="connsiteY82" fmla="*/ 6053403 h 6861600"/>
              <a:gd name="connsiteX83" fmla="*/ 1967215 w 12193200"/>
              <a:gd name="connsiteY83" fmla="*/ 6053403 h 6861600"/>
              <a:gd name="connsiteX84" fmla="*/ 1995199 w 12193200"/>
              <a:gd name="connsiteY84" fmla="*/ 6024686 h 6861600"/>
              <a:gd name="connsiteX85" fmla="*/ 1995199 w 12193200"/>
              <a:gd name="connsiteY85" fmla="*/ 5972993 h 6861600"/>
              <a:gd name="connsiteX86" fmla="*/ 1967215 w 12193200"/>
              <a:gd name="connsiteY86" fmla="*/ 5942361 h 6861600"/>
              <a:gd name="connsiteX87" fmla="*/ 1865456 w 12193200"/>
              <a:gd name="connsiteY87" fmla="*/ 5942361 h 6861600"/>
              <a:gd name="connsiteX88" fmla="*/ 1865456 w 12193200"/>
              <a:gd name="connsiteY88" fmla="*/ 5905985 h 6861600"/>
              <a:gd name="connsiteX89" fmla="*/ 1953859 w 12193200"/>
              <a:gd name="connsiteY89" fmla="*/ 5905985 h 6861600"/>
              <a:gd name="connsiteX90" fmla="*/ 1953859 w 12193200"/>
              <a:gd name="connsiteY90" fmla="*/ 5921301 h 6861600"/>
              <a:gd name="connsiteX91" fmla="*/ 1995199 w 12193200"/>
              <a:gd name="connsiteY91" fmla="*/ 5921301 h 6861600"/>
              <a:gd name="connsiteX92" fmla="*/ 1995199 w 12193200"/>
              <a:gd name="connsiteY92" fmla="*/ 5900241 h 6861600"/>
              <a:gd name="connsiteX93" fmla="*/ 1969123 w 12193200"/>
              <a:gd name="connsiteY93" fmla="*/ 5869609 h 6861600"/>
              <a:gd name="connsiteX94" fmla="*/ 11668273 w 12193200"/>
              <a:gd name="connsiteY94" fmla="*/ 5868556 h 6861600"/>
              <a:gd name="connsiteX95" fmla="*/ 11723299 w 12193200"/>
              <a:gd name="connsiteY95" fmla="*/ 5983559 h 6861600"/>
              <a:gd name="connsiteX96" fmla="*/ 11723299 w 12193200"/>
              <a:gd name="connsiteY96" fmla="*/ 6049054 h 6861600"/>
              <a:gd name="connsiteX97" fmla="*/ 11765029 w 12193200"/>
              <a:gd name="connsiteY97" fmla="*/ 6049054 h 6861600"/>
              <a:gd name="connsiteX98" fmla="*/ 11765029 w 12193200"/>
              <a:gd name="connsiteY98" fmla="*/ 5983559 h 6861600"/>
              <a:gd name="connsiteX99" fmla="*/ 11820060 w 12193200"/>
              <a:gd name="connsiteY99" fmla="*/ 5868556 h 6861600"/>
              <a:gd name="connsiteX100" fmla="*/ 11777026 w 12193200"/>
              <a:gd name="connsiteY100" fmla="*/ 5868556 h 6861600"/>
              <a:gd name="connsiteX101" fmla="*/ 11744427 w 12193200"/>
              <a:gd name="connsiteY101" fmla="*/ 5945396 h 6861600"/>
              <a:gd name="connsiteX102" fmla="*/ 11711566 w 12193200"/>
              <a:gd name="connsiteY102" fmla="*/ 5868556 h 6861600"/>
              <a:gd name="connsiteX103" fmla="*/ 11569685 w 12193200"/>
              <a:gd name="connsiteY103" fmla="*/ 5868556 h 6861600"/>
              <a:gd name="connsiteX104" fmla="*/ 11557946 w 12193200"/>
              <a:gd name="connsiteY104" fmla="*/ 5878354 h 6861600"/>
              <a:gd name="connsiteX105" fmla="*/ 11522999 w 12193200"/>
              <a:gd name="connsiteY105" fmla="*/ 6049054 h 6861600"/>
              <a:gd name="connsiteX106" fmla="*/ 11564204 w 12193200"/>
              <a:gd name="connsiteY106" fmla="*/ 6049054 h 6861600"/>
              <a:gd name="connsiteX107" fmla="*/ 11572292 w 12193200"/>
              <a:gd name="connsiteY107" fmla="*/ 6005219 h 6861600"/>
              <a:gd name="connsiteX108" fmla="*/ 11628363 w 12193200"/>
              <a:gd name="connsiteY108" fmla="*/ 6005219 h 6861600"/>
              <a:gd name="connsiteX109" fmla="*/ 11636710 w 12193200"/>
              <a:gd name="connsiteY109" fmla="*/ 6049054 h 6861600"/>
              <a:gd name="connsiteX110" fmla="*/ 11678697 w 12193200"/>
              <a:gd name="connsiteY110" fmla="*/ 6049054 h 6861600"/>
              <a:gd name="connsiteX111" fmla="*/ 11642448 w 12193200"/>
              <a:gd name="connsiteY111" fmla="*/ 5878354 h 6861600"/>
              <a:gd name="connsiteX112" fmla="*/ 11630711 w 12193200"/>
              <a:gd name="connsiteY112" fmla="*/ 5868556 h 6861600"/>
              <a:gd name="connsiteX113" fmla="*/ 11293745 w 12193200"/>
              <a:gd name="connsiteY113" fmla="*/ 5868556 h 6861600"/>
              <a:gd name="connsiteX114" fmla="*/ 11325040 w 12193200"/>
              <a:gd name="connsiteY114" fmla="*/ 6040546 h 6861600"/>
              <a:gd name="connsiteX115" fmla="*/ 11334691 w 12193200"/>
              <a:gd name="connsiteY115" fmla="*/ 6049054 h 6861600"/>
              <a:gd name="connsiteX116" fmla="*/ 11373289 w 12193200"/>
              <a:gd name="connsiteY116" fmla="*/ 6049054 h 6861600"/>
              <a:gd name="connsiteX117" fmla="*/ 11383200 w 12193200"/>
              <a:gd name="connsiteY117" fmla="*/ 6041061 h 6861600"/>
              <a:gd name="connsiteX118" fmla="*/ 11407979 w 12193200"/>
              <a:gd name="connsiteY118" fmla="*/ 5923221 h 6861600"/>
              <a:gd name="connsiteX119" fmla="*/ 11433797 w 12193200"/>
              <a:gd name="connsiteY119" fmla="*/ 6041061 h 6861600"/>
              <a:gd name="connsiteX120" fmla="*/ 11444491 w 12193200"/>
              <a:gd name="connsiteY120" fmla="*/ 6049054 h 6861600"/>
              <a:gd name="connsiteX121" fmla="*/ 11481522 w 12193200"/>
              <a:gd name="connsiteY121" fmla="*/ 6049054 h 6861600"/>
              <a:gd name="connsiteX122" fmla="*/ 11491171 w 12193200"/>
              <a:gd name="connsiteY122" fmla="*/ 6040546 h 6861600"/>
              <a:gd name="connsiteX123" fmla="*/ 11522208 w 12193200"/>
              <a:gd name="connsiteY123" fmla="*/ 5868556 h 6861600"/>
              <a:gd name="connsiteX124" fmla="*/ 11483089 w 12193200"/>
              <a:gd name="connsiteY124" fmla="*/ 5868556 h 6861600"/>
              <a:gd name="connsiteX125" fmla="*/ 11461701 w 12193200"/>
              <a:gd name="connsiteY125" fmla="*/ 6009087 h 6861600"/>
              <a:gd name="connsiteX126" fmla="*/ 11430145 w 12193200"/>
              <a:gd name="connsiteY126" fmla="*/ 5868556 h 6861600"/>
              <a:gd name="connsiteX127" fmla="*/ 11386588 w 12193200"/>
              <a:gd name="connsiteY127" fmla="*/ 5868556 h 6861600"/>
              <a:gd name="connsiteX128" fmla="*/ 11355816 w 12193200"/>
              <a:gd name="connsiteY128" fmla="*/ 6009087 h 6861600"/>
              <a:gd name="connsiteX129" fmla="*/ 11333909 w 12193200"/>
              <a:gd name="connsiteY129" fmla="*/ 5868556 h 6861600"/>
              <a:gd name="connsiteX130" fmla="*/ 11112223 w 12193200"/>
              <a:gd name="connsiteY130" fmla="*/ 5868556 h 6861600"/>
              <a:gd name="connsiteX131" fmla="*/ 11112223 w 12193200"/>
              <a:gd name="connsiteY131" fmla="*/ 6049054 h 6861600"/>
              <a:gd name="connsiteX132" fmla="*/ 11223323 w 12193200"/>
              <a:gd name="connsiteY132" fmla="*/ 6049054 h 6861600"/>
              <a:gd name="connsiteX133" fmla="*/ 11223323 w 12193200"/>
              <a:gd name="connsiteY133" fmla="*/ 6014244 h 6861600"/>
              <a:gd name="connsiteX134" fmla="*/ 11153951 w 12193200"/>
              <a:gd name="connsiteY134" fmla="*/ 6014244 h 6861600"/>
              <a:gd name="connsiteX135" fmla="*/ 11153951 w 12193200"/>
              <a:gd name="connsiteY135" fmla="*/ 5975050 h 6861600"/>
              <a:gd name="connsiteX136" fmla="*/ 11211325 w 12193200"/>
              <a:gd name="connsiteY136" fmla="*/ 5975050 h 6861600"/>
              <a:gd name="connsiteX137" fmla="*/ 11211325 w 12193200"/>
              <a:gd name="connsiteY137" fmla="*/ 5940240 h 6861600"/>
              <a:gd name="connsiteX138" fmla="*/ 11153951 w 12193200"/>
              <a:gd name="connsiteY138" fmla="*/ 5940240 h 6861600"/>
              <a:gd name="connsiteX139" fmla="*/ 11153951 w 12193200"/>
              <a:gd name="connsiteY139" fmla="*/ 5903366 h 6861600"/>
              <a:gd name="connsiteX140" fmla="*/ 11223323 w 12193200"/>
              <a:gd name="connsiteY140" fmla="*/ 5903366 h 6861600"/>
              <a:gd name="connsiteX141" fmla="*/ 11223323 w 12193200"/>
              <a:gd name="connsiteY141" fmla="*/ 5868556 h 6861600"/>
              <a:gd name="connsiteX142" fmla="*/ 10943215 w 12193200"/>
              <a:gd name="connsiteY142" fmla="*/ 5868556 h 6861600"/>
              <a:gd name="connsiteX143" fmla="*/ 10943215 w 12193200"/>
              <a:gd name="connsiteY143" fmla="*/ 6049054 h 6861600"/>
              <a:gd name="connsiteX144" fmla="*/ 10984945 w 12193200"/>
              <a:gd name="connsiteY144" fmla="*/ 6049054 h 6861600"/>
              <a:gd name="connsiteX145" fmla="*/ 10984945 w 12193200"/>
              <a:gd name="connsiteY145" fmla="*/ 5974534 h 6861600"/>
              <a:gd name="connsiteX146" fmla="*/ 11042060 w 12193200"/>
              <a:gd name="connsiteY146" fmla="*/ 5974534 h 6861600"/>
              <a:gd name="connsiteX147" fmla="*/ 11042060 w 12193200"/>
              <a:gd name="connsiteY147" fmla="*/ 6049054 h 6861600"/>
              <a:gd name="connsiteX148" fmla="*/ 11083787 w 12193200"/>
              <a:gd name="connsiteY148" fmla="*/ 6049054 h 6861600"/>
              <a:gd name="connsiteX149" fmla="*/ 11083787 w 12193200"/>
              <a:gd name="connsiteY149" fmla="*/ 5868556 h 6861600"/>
              <a:gd name="connsiteX150" fmla="*/ 11042060 w 12193200"/>
              <a:gd name="connsiteY150" fmla="*/ 5868556 h 6861600"/>
              <a:gd name="connsiteX151" fmla="*/ 11042060 w 12193200"/>
              <a:gd name="connsiteY151" fmla="*/ 5939724 h 6861600"/>
              <a:gd name="connsiteX152" fmla="*/ 10984945 w 12193200"/>
              <a:gd name="connsiteY152" fmla="*/ 5939724 h 6861600"/>
              <a:gd name="connsiteX153" fmla="*/ 10984945 w 12193200"/>
              <a:gd name="connsiteY153" fmla="*/ 5868556 h 6861600"/>
              <a:gd name="connsiteX154" fmla="*/ 10779428 w 12193200"/>
              <a:gd name="connsiteY154" fmla="*/ 5868556 h 6861600"/>
              <a:gd name="connsiteX155" fmla="*/ 10779428 w 12193200"/>
              <a:gd name="connsiteY155" fmla="*/ 5903366 h 6861600"/>
              <a:gd name="connsiteX156" fmla="*/ 10826632 w 12193200"/>
              <a:gd name="connsiteY156" fmla="*/ 5903366 h 6861600"/>
              <a:gd name="connsiteX157" fmla="*/ 10826632 w 12193200"/>
              <a:gd name="connsiteY157" fmla="*/ 6049054 h 6861600"/>
              <a:gd name="connsiteX158" fmla="*/ 10868360 w 12193200"/>
              <a:gd name="connsiteY158" fmla="*/ 6049054 h 6861600"/>
              <a:gd name="connsiteX159" fmla="*/ 10868360 w 12193200"/>
              <a:gd name="connsiteY159" fmla="*/ 5903366 h 6861600"/>
              <a:gd name="connsiteX160" fmla="*/ 10915564 w 12193200"/>
              <a:gd name="connsiteY160" fmla="*/ 5903366 h 6861600"/>
              <a:gd name="connsiteX161" fmla="*/ 10915564 w 12193200"/>
              <a:gd name="connsiteY161" fmla="*/ 5868556 h 6861600"/>
              <a:gd name="connsiteX162" fmla="*/ 10602853 w 12193200"/>
              <a:gd name="connsiteY162" fmla="*/ 5868556 h 6861600"/>
              <a:gd name="connsiteX163" fmla="*/ 10602853 w 12193200"/>
              <a:gd name="connsiteY163" fmla="*/ 6049054 h 6861600"/>
              <a:gd name="connsiteX164" fmla="*/ 10714217 w 12193200"/>
              <a:gd name="connsiteY164" fmla="*/ 6049054 h 6861600"/>
              <a:gd name="connsiteX165" fmla="*/ 10714217 w 12193200"/>
              <a:gd name="connsiteY165" fmla="*/ 6014244 h 6861600"/>
              <a:gd name="connsiteX166" fmla="*/ 10644583 w 12193200"/>
              <a:gd name="connsiteY166" fmla="*/ 6014244 h 6861600"/>
              <a:gd name="connsiteX167" fmla="*/ 10644583 w 12193200"/>
              <a:gd name="connsiteY167" fmla="*/ 5868556 h 6861600"/>
              <a:gd name="connsiteX168" fmla="*/ 10467490 w 12193200"/>
              <a:gd name="connsiteY168" fmla="*/ 5868556 h 6861600"/>
              <a:gd name="connsiteX169" fmla="*/ 10467490 w 12193200"/>
              <a:gd name="connsiteY169" fmla="*/ 6049054 h 6861600"/>
              <a:gd name="connsiteX170" fmla="*/ 10578854 w 12193200"/>
              <a:gd name="connsiteY170" fmla="*/ 6049054 h 6861600"/>
              <a:gd name="connsiteX171" fmla="*/ 10578854 w 12193200"/>
              <a:gd name="connsiteY171" fmla="*/ 6014244 h 6861600"/>
              <a:gd name="connsiteX172" fmla="*/ 10509217 w 12193200"/>
              <a:gd name="connsiteY172" fmla="*/ 6014244 h 6861600"/>
              <a:gd name="connsiteX173" fmla="*/ 10509217 w 12193200"/>
              <a:gd name="connsiteY173" fmla="*/ 5868556 h 6861600"/>
              <a:gd name="connsiteX174" fmla="*/ 10335779 w 12193200"/>
              <a:gd name="connsiteY174" fmla="*/ 5868556 h 6861600"/>
              <a:gd name="connsiteX175" fmla="*/ 10324044 w 12193200"/>
              <a:gd name="connsiteY175" fmla="*/ 5878354 h 6861600"/>
              <a:gd name="connsiteX176" fmla="*/ 10289097 w 12193200"/>
              <a:gd name="connsiteY176" fmla="*/ 6049054 h 6861600"/>
              <a:gd name="connsiteX177" fmla="*/ 10330303 w 12193200"/>
              <a:gd name="connsiteY177" fmla="*/ 6049054 h 6861600"/>
              <a:gd name="connsiteX178" fmla="*/ 10338389 w 12193200"/>
              <a:gd name="connsiteY178" fmla="*/ 6005219 h 6861600"/>
              <a:gd name="connsiteX179" fmla="*/ 10394462 w 12193200"/>
              <a:gd name="connsiteY179" fmla="*/ 6005219 h 6861600"/>
              <a:gd name="connsiteX180" fmla="*/ 10402808 w 12193200"/>
              <a:gd name="connsiteY180" fmla="*/ 6049054 h 6861600"/>
              <a:gd name="connsiteX181" fmla="*/ 10444796 w 12193200"/>
              <a:gd name="connsiteY181" fmla="*/ 6049054 h 6861600"/>
              <a:gd name="connsiteX182" fmla="*/ 10408543 w 12193200"/>
              <a:gd name="connsiteY182" fmla="*/ 5878354 h 6861600"/>
              <a:gd name="connsiteX183" fmla="*/ 10396809 w 12193200"/>
              <a:gd name="connsiteY183" fmla="*/ 5868556 h 6861600"/>
              <a:gd name="connsiteX184" fmla="*/ 422379 w 12193200"/>
              <a:gd name="connsiteY184" fmla="*/ 5753461 h 6861600"/>
              <a:gd name="connsiteX185" fmla="*/ 377223 w 12193200"/>
              <a:gd name="connsiteY185" fmla="*/ 5801324 h 6861600"/>
              <a:gd name="connsiteX186" fmla="*/ 377223 w 12193200"/>
              <a:gd name="connsiteY186" fmla="*/ 6122326 h 6861600"/>
              <a:gd name="connsiteX187" fmla="*/ 422379 w 12193200"/>
              <a:gd name="connsiteY187" fmla="*/ 6170189 h 6861600"/>
              <a:gd name="connsiteX188" fmla="*/ 718117 w 12193200"/>
              <a:gd name="connsiteY188" fmla="*/ 6170189 h 6861600"/>
              <a:gd name="connsiteX189" fmla="*/ 765181 w 12193200"/>
              <a:gd name="connsiteY189" fmla="*/ 6122326 h 6861600"/>
              <a:gd name="connsiteX190" fmla="*/ 765181 w 12193200"/>
              <a:gd name="connsiteY190" fmla="*/ 5801324 h 6861600"/>
              <a:gd name="connsiteX191" fmla="*/ 718117 w 12193200"/>
              <a:gd name="connsiteY191" fmla="*/ 5753461 h 6861600"/>
              <a:gd name="connsiteX192" fmla="*/ 12192000 w 12193200"/>
              <a:gd name="connsiteY192" fmla="*/ 0 h 6861600"/>
              <a:gd name="connsiteX193" fmla="*/ 12193200 w 12193200"/>
              <a:gd name="connsiteY193" fmla="*/ 0 h 6861600"/>
              <a:gd name="connsiteX194" fmla="*/ 12193200 w 12193200"/>
              <a:gd name="connsiteY194" fmla="*/ 6861600 h 6861600"/>
              <a:gd name="connsiteX195" fmla="*/ 0 w 12193200"/>
              <a:gd name="connsiteY195" fmla="*/ 6861600 h 6861600"/>
              <a:gd name="connsiteX196" fmla="*/ 0 w 12193200"/>
              <a:gd name="connsiteY196" fmla="*/ 6858000 h 6861600"/>
              <a:gd name="connsiteX197" fmla="*/ 12192000 w 12193200"/>
              <a:gd name="connsiteY197" fmla="*/ 6858000 h 6861600"/>
              <a:gd name="connsiteX198" fmla="*/ 0 w 12193200"/>
              <a:gd name="connsiteY198" fmla="*/ 0 h 6861600"/>
              <a:gd name="connsiteX199" fmla="*/ 12191999 w 12193200"/>
              <a:gd name="connsiteY199" fmla="*/ 0 h 6861600"/>
              <a:gd name="connsiteX200" fmla="*/ 12191999 w 12193200"/>
              <a:gd name="connsiteY200" fmla="*/ 4414449 h 6861600"/>
              <a:gd name="connsiteX201" fmla="*/ 12191999 w 12193200"/>
              <a:gd name="connsiteY201" fmla="*/ 4527603 h 6861600"/>
              <a:gd name="connsiteX202" fmla="*/ 12191999 w 12193200"/>
              <a:gd name="connsiteY202" fmla="*/ 5635421 h 6861600"/>
              <a:gd name="connsiteX203" fmla="*/ 11344017 w 12193200"/>
              <a:gd name="connsiteY203" fmla="*/ 6483403 h 6861600"/>
              <a:gd name="connsiteX204" fmla="*/ 10222737 w 12193200"/>
              <a:gd name="connsiteY204" fmla="*/ 6483403 h 6861600"/>
              <a:gd name="connsiteX205" fmla="*/ 9813419 w 12193200"/>
              <a:gd name="connsiteY205" fmla="*/ 6483403 h 6861600"/>
              <a:gd name="connsiteX206" fmla="*/ 5765037 w 12193200"/>
              <a:gd name="connsiteY206" fmla="*/ 6483403 h 6861600"/>
              <a:gd name="connsiteX207" fmla="*/ 5765037 w 12193200"/>
              <a:gd name="connsiteY207" fmla="*/ 6483402 h 6861600"/>
              <a:gd name="connsiteX208" fmla="*/ 0 w 12193200"/>
              <a:gd name="connsiteY208" fmla="*/ 6483402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2193200" h="6861600">
                <a:moveTo>
                  <a:pt x="1656213" y="5905985"/>
                </a:moveTo>
                <a:lnTo>
                  <a:pt x="1746524" y="5905985"/>
                </a:lnTo>
                <a:lnTo>
                  <a:pt x="1746524" y="5953848"/>
                </a:lnTo>
                <a:lnTo>
                  <a:pt x="1656213" y="5953848"/>
                </a:lnTo>
                <a:close/>
                <a:moveTo>
                  <a:pt x="1279703" y="5904070"/>
                </a:moveTo>
                <a:lnTo>
                  <a:pt x="1311503" y="5982566"/>
                </a:lnTo>
                <a:lnTo>
                  <a:pt x="1247904" y="5982566"/>
                </a:lnTo>
                <a:close/>
                <a:moveTo>
                  <a:pt x="11590810" y="5903366"/>
                </a:moveTo>
                <a:lnTo>
                  <a:pt x="11609065" y="5903366"/>
                </a:lnTo>
                <a:lnTo>
                  <a:pt x="11621841" y="5970409"/>
                </a:lnTo>
                <a:lnTo>
                  <a:pt x="11578548" y="5970409"/>
                </a:lnTo>
                <a:close/>
                <a:moveTo>
                  <a:pt x="10356904" y="5903366"/>
                </a:moveTo>
                <a:lnTo>
                  <a:pt x="10375160" y="5903366"/>
                </a:lnTo>
                <a:lnTo>
                  <a:pt x="10387940" y="5970409"/>
                </a:lnTo>
                <a:lnTo>
                  <a:pt x="10344647" y="5970409"/>
                </a:lnTo>
                <a:close/>
                <a:moveTo>
                  <a:pt x="2034631" y="5870247"/>
                </a:moveTo>
                <a:lnTo>
                  <a:pt x="2034631" y="6053403"/>
                </a:lnTo>
                <a:lnTo>
                  <a:pt x="2078515" y="6053403"/>
                </a:lnTo>
                <a:lnTo>
                  <a:pt x="2078515" y="5969164"/>
                </a:lnTo>
                <a:lnTo>
                  <a:pt x="2161194" y="6053403"/>
                </a:lnTo>
                <a:lnTo>
                  <a:pt x="2221614" y="6053403"/>
                </a:lnTo>
                <a:lnTo>
                  <a:pt x="2121763" y="5955762"/>
                </a:lnTo>
                <a:lnTo>
                  <a:pt x="2217798" y="5870247"/>
                </a:lnTo>
                <a:lnTo>
                  <a:pt x="2159286" y="5870247"/>
                </a:lnTo>
                <a:lnTo>
                  <a:pt x="2078515" y="5944275"/>
                </a:lnTo>
                <a:lnTo>
                  <a:pt x="2078515" y="5870247"/>
                </a:lnTo>
                <a:close/>
                <a:moveTo>
                  <a:pt x="1612965" y="5870247"/>
                </a:moveTo>
                <a:lnTo>
                  <a:pt x="1612965" y="6053403"/>
                </a:lnTo>
                <a:lnTo>
                  <a:pt x="1656213" y="6053403"/>
                </a:lnTo>
                <a:lnTo>
                  <a:pt x="1656213" y="5990224"/>
                </a:lnTo>
                <a:lnTo>
                  <a:pt x="1703277" y="5990224"/>
                </a:lnTo>
                <a:lnTo>
                  <a:pt x="1742708" y="6053403"/>
                </a:lnTo>
                <a:lnTo>
                  <a:pt x="1789772" y="6053403"/>
                </a:lnTo>
                <a:lnTo>
                  <a:pt x="1748432" y="5990224"/>
                </a:lnTo>
                <a:lnTo>
                  <a:pt x="1752248" y="5990224"/>
                </a:lnTo>
                <a:cubicBezTo>
                  <a:pt x="1776416" y="5990224"/>
                  <a:pt x="1787864" y="5976822"/>
                  <a:pt x="1787864" y="5961506"/>
                </a:cubicBezTo>
                <a:lnTo>
                  <a:pt x="1787864" y="5900879"/>
                </a:lnTo>
                <a:cubicBezTo>
                  <a:pt x="1787864" y="5881734"/>
                  <a:pt x="1776416" y="5870247"/>
                  <a:pt x="1757972" y="5870247"/>
                </a:cubicBezTo>
                <a:close/>
                <a:moveTo>
                  <a:pt x="1407538" y="5870247"/>
                </a:moveTo>
                <a:lnTo>
                  <a:pt x="1407538" y="6053403"/>
                </a:lnTo>
                <a:lnTo>
                  <a:pt x="1581165" y="6053403"/>
                </a:lnTo>
                <a:lnTo>
                  <a:pt x="1581165" y="6017027"/>
                </a:lnTo>
                <a:lnTo>
                  <a:pt x="1448878" y="6017027"/>
                </a:lnTo>
                <a:lnTo>
                  <a:pt x="1448878" y="5978737"/>
                </a:lnTo>
                <a:lnTo>
                  <a:pt x="1562085" y="5978737"/>
                </a:lnTo>
                <a:lnTo>
                  <a:pt x="1562085" y="5942361"/>
                </a:lnTo>
                <a:lnTo>
                  <a:pt x="1448878" y="5942361"/>
                </a:lnTo>
                <a:lnTo>
                  <a:pt x="1448878" y="5905985"/>
                </a:lnTo>
                <a:lnTo>
                  <a:pt x="1579257" y="5905985"/>
                </a:lnTo>
                <a:lnTo>
                  <a:pt x="1579257" y="5870247"/>
                </a:lnTo>
                <a:close/>
                <a:moveTo>
                  <a:pt x="1251084" y="5870247"/>
                </a:moveTo>
                <a:lnTo>
                  <a:pt x="1170312" y="6053403"/>
                </a:lnTo>
                <a:lnTo>
                  <a:pt x="1217376" y="6053403"/>
                </a:lnTo>
                <a:lnTo>
                  <a:pt x="1232640" y="6017027"/>
                </a:lnTo>
                <a:lnTo>
                  <a:pt x="1326767" y="6017027"/>
                </a:lnTo>
                <a:lnTo>
                  <a:pt x="1343939" y="6053403"/>
                </a:lnTo>
                <a:lnTo>
                  <a:pt x="1389095" y="6053403"/>
                </a:lnTo>
                <a:lnTo>
                  <a:pt x="1307687" y="5870247"/>
                </a:lnTo>
                <a:close/>
                <a:moveTo>
                  <a:pt x="938809" y="5870247"/>
                </a:moveTo>
                <a:lnTo>
                  <a:pt x="938809" y="6053403"/>
                </a:lnTo>
                <a:lnTo>
                  <a:pt x="978241" y="6053403"/>
                </a:lnTo>
                <a:lnTo>
                  <a:pt x="978241" y="5948104"/>
                </a:lnTo>
                <a:lnTo>
                  <a:pt x="1025305" y="6053403"/>
                </a:lnTo>
                <a:lnTo>
                  <a:pt x="1066644" y="6053403"/>
                </a:lnTo>
                <a:lnTo>
                  <a:pt x="1113708" y="5946190"/>
                </a:lnTo>
                <a:lnTo>
                  <a:pt x="1113708" y="6053403"/>
                </a:lnTo>
                <a:lnTo>
                  <a:pt x="1153140" y="6053403"/>
                </a:lnTo>
                <a:lnTo>
                  <a:pt x="1153140" y="5870247"/>
                </a:lnTo>
                <a:lnTo>
                  <a:pt x="1106076" y="5870247"/>
                </a:lnTo>
                <a:lnTo>
                  <a:pt x="1045657" y="6007455"/>
                </a:lnTo>
                <a:lnTo>
                  <a:pt x="985873" y="5870247"/>
                </a:lnTo>
                <a:close/>
                <a:moveTo>
                  <a:pt x="1852100" y="5869609"/>
                </a:moveTo>
                <a:cubicBezTo>
                  <a:pt x="1837472" y="5869609"/>
                  <a:pt x="1824116" y="5881096"/>
                  <a:pt x="1824116" y="5898327"/>
                </a:cubicBezTo>
                <a:lnTo>
                  <a:pt x="1824116" y="5951934"/>
                </a:lnTo>
                <a:cubicBezTo>
                  <a:pt x="1824116" y="5967250"/>
                  <a:pt x="1834928" y="5978737"/>
                  <a:pt x="1852100" y="5978737"/>
                </a:cubicBezTo>
                <a:lnTo>
                  <a:pt x="1953859" y="5978737"/>
                </a:lnTo>
                <a:lnTo>
                  <a:pt x="1953859" y="6017027"/>
                </a:lnTo>
                <a:lnTo>
                  <a:pt x="1865456" y="6017027"/>
                </a:lnTo>
                <a:lnTo>
                  <a:pt x="1865456" y="6003626"/>
                </a:lnTo>
                <a:lnTo>
                  <a:pt x="1822208" y="6003626"/>
                </a:lnTo>
                <a:lnTo>
                  <a:pt x="1822208" y="6026600"/>
                </a:lnTo>
                <a:cubicBezTo>
                  <a:pt x="1822208" y="6041916"/>
                  <a:pt x="1831112" y="6053403"/>
                  <a:pt x="1850192" y="6053403"/>
                </a:cubicBezTo>
                <a:lnTo>
                  <a:pt x="1865456" y="6053403"/>
                </a:lnTo>
                <a:lnTo>
                  <a:pt x="1967215" y="6053403"/>
                </a:lnTo>
                <a:cubicBezTo>
                  <a:pt x="1985659" y="6053403"/>
                  <a:pt x="1995199" y="6041916"/>
                  <a:pt x="1995199" y="6024686"/>
                </a:cubicBezTo>
                <a:lnTo>
                  <a:pt x="1995199" y="5972993"/>
                </a:lnTo>
                <a:cubicBezTo>
                  <a:pt x="1995199" y="5953848"/>
                  <a:pt x="1982479" y="5942361"/>
                  <a:pt x="1967215" y="5942361"/>
                </a:cubicBezTo>
                <a:lnTo>
                  <a:pt x="1865456" y="5942361"/>
                </a:lnTo>
                <a:lnTo>
                  <a:pt x="1865456" y="5905985"/>
                </a:lnTo>
                <a:lnTo>
                  <a:pt x="1953859" y="5905985"/>
                </a:lnTo>
                <a:lnTo>
                  <a:pt x="1953859" y="5921301"/>
                </a:lnTo>
                <a:lnTo>
                  <a:pt x="1995199" y="5921301"/>
                </a:lnTo>
                <a:lnTo>
                  <a:pt x="1995199" y="5900241"/>
                </a:lnTo>
                <a:cubicBezTo>
                  <a:pt x="1995199" y="5881096"/>
                  <a:pt x="1984387" y="5869609"/>
                  <a:pt x="1969123" y="5869609"/>
                </a:cubicBezTo>
                <a:close/>
                <a:moveTo>
                  <a:pt x="11668273" y="5868556"/>
                </a:moveTo>
                <a:lnTo>
                  <a:pt x="11723299" y="5983559"/>
                </a:lnTo>
                <a:lnTo>
                  <a:pt x="11723299" y="6049054"/>
                </a:lnTo>
                <a:lnTo>
                  <a:pt x="11765029" y="6049054"/>
                </a:lnTo>
                <a:lnTo>
                  <a:pt x="11765029" y="5983559"/>
                </a:lnTo>
                <a:lnTo>
                  <a:pt x="11820060" y="5868556"/>
                </a:lnTo>
                <a:lnTo>
                  <a:pt x="11777026" y="5868556"/>
                </a:lnTo>
                <a:lnTo>
                  <a:pt x="11744427" y="5945396"/>
                </a:lnTo>
                <a:lnTo>
                  <a:pt x="11711566" y="5868556"/>
                </a:lnTo>
                <a:close/>
                <a:moveTo>
                  <a:pt x="11569685" y="5868556"/>
                </a:moveTo>
                <a:cubicBezTo>
                  <a:pt x="11562640" y="5868556"/>
                  <a:pt x="11559252" y="5871907"/>
                  <a:pt x="11557946" y="5878354"/>
                </a:cubicBezTo>
                <a:lnTo>
                  <a:pt x="11522999" y="6049054"/>
                </a:lnTo>
                <a:lnTo>
                  <a:pt x="11564204" y="6049054"/>
                </a:lnTo>
                <a:lnTo>
                  <a:pt x="11572292" y="6005219"/>
                </a:lnTo>
                <a:lnTo>
                  <a:pt x="11628363" y="6005219"/>
                </a:lnTo>
                <a:lnTo>
                  <a:pt x="11636710" y="6049054"/>
                </a:lnTo>
                <a:lnTo>
                  <a:pt x="11678697" y="6049054"/>
                </a:lnTo>
                <a:lnTo>
                  <a:pt x="11642448" y="5878354"/>
                </a:lnTo>
                <a:cubicBezTo>
                  <a:pt x="11641144" y="5871907"/>
                  <a:pt x="11637751" y="5868556"/>
                  <a:pt x="11630711" y="5868556"/>
                </a:cubicBezTo>
                <a:close/>
                <a:moveTo>
                  <a:pt x="11293745" y="5868556"/>
                </a:moveTo>
                <a:lnTo>
                  <a:pt x="11325040" y="6040546"/>
                </a:lnTo>
                <a:cubicBezTo>
                  <a:pt x="11326085" y="6046991"/>
                  <a:pt x="11329214" y="6049054"/>
                  <a:pt x="11334691" y="6049054"/>
                </a:cubicBezTo>
                <a:lnTo>
                  <a:pt x="11373289" y="6049054"/>
                </a:lnTo>
                <a:cubicBezTo>
                  <a:pt x="11378766" y="6049054"/>
                  <a:pt x="11381895" y="6047249"/>
                  <a:pt x="11383200" y="6041061"/>
                </a:cubicBezTo>
                <a:lnTo>
                  <a:pt x="11407979" y="5923221"/>
                </a:lnTo>
                <a:lnTo>
                  <a:pt x="11433797" y="6041061"/>
                </a:lnTo>
                <a:cubicBezTo>
                  <a:pt x="11435099" y="6047249"/>
                  <a:pt x="11439010" y="6049054"/>
                  <a:pt x="11444491" y="6049054"/>
                </a:cubicBezTo>
                <a:lnTo>
                  <a:pt x="11481522" y="6049054"/>
                </a:lnTo>
                <a:cubicBezTo>
                  <a:pt x="11487001" y="6049054"/>
                  <a:pt x="11490130" y="6046991"/>
                  <a:pt x="11491171" y="6040546"/>
                </a:cubicBezTo>
                <a:lnTo>
                  <a:pt x="11522208" y="5868556"/>
                </a:lnTo>
                <a:lnTo>
                  <a:pt x="11483089" y="5868556"/>
                </a:lnTo>
                <a:lnTo>
                  <a:pt x="11461701" y="6009087"/>
                </a:lnTo>
                <a:lnTo>
                  <a:pt x="11430145" y="5868556"/>
                </a:lnTo>
                <a:lnTo>
                  <a:pt x="11386588" y="5868556"/>
                </a:lnTo>
                <a:lnTo>
                  <a:pt x="11355816" y="6009087"/>
                </a:lnTo>
                <a:lnTo>
                  <a:pt x="11333909" y="5868556"/>
                </a:lnTo>
                <a:close/>
                <a:moveTo>
                  <a:pt x="11112223" y="5868556"/>
                </a:moveTo>
                <a:lnTo>
                  <a:pt x="11112223" y="6049054"/>
                </a:lnTo>
                <a:lnTo>
                  <a:pt x="11223323" y="6049054"/>
                </a:lnTo>
                <a:lnTo>
                  <a:pt x="11223323" y="6014244"/>
                </a:lnTo>
                <a:lnTo>
                  <a:pt x="11153951" y="6014244"/>
                </a:lnTo>
                <a:lnTo>
                  <a:pt x="11153951" y="5975050"/>
                </a:lnTo>
                <a:lnTo>
                  <a:pt x="11211325" y="5975050"/>
                </a:lnTo>
                <a:lnTo>
                  <a:pt x="11211325" y="5940240"/>
                </a:lnTo>
                <a:lnTo>
                  <a:pt x="11153951" y="5940240"/>
                </a:lnTo>
                <a:lnTo>
                  <a:pt x="11153951" y="5903366"/>
                </a:lnTo>
                <a:lnTo>
                  <a:pt x="11223323" y="5903366"/>
                </a:lnTo>
                <a:lnTo>
                  <a:pt x="11223323" y="5868556"/>
                </a:lnTo>
                <a:close/>
                <a:moveTo>
                  <a:pt x="10943215" y="5868556"/>
                </a:moveTo>
                <a:lnTo>
                  <a:pt x="10943215" y="6049054"/>
                </a:lnTo>
                <a:lnTo>
                  <a:pt x="10984945" y="6049054"/>
                </a:lnTo>
                <a:lnTo>
                  <a:pt x="10984945" y="5974534"/>
                </a:lnTo>
                <a:lnTo>
                  <a:pt x="11042060" y="5974534"/>
                </a:lnTo>
                <a:lnTo>
                  <a:pt x="11042060" y="6049054"/>
                </a:lnTo>
                <a:lnTo>
                  <a:pt x="11083787" y="6049054"/>
                </a:lnTo>
                <a:lnTo>
                  <a:pt x="11083787" y="5868556"/>
                </a:lnTo>
                <a:lnTo>
                  <a:pt x="11042060" y="5868556"/>
                </a:lnTo>
                <a:lnTo>
                  <a:pt x="11042060" y="5939724"/>
                </a:lnTo>
                <a:lnTo>
                  <a:pt x="10984945" y="5939724"/>
                </a:lnTo>
                <a:lnTo>
                  <a:pt x="10984945" y="5868556"/>
                </a:lnTo>
                <a:close/>
                <a:moveTo>
                  <a:pt x="10779428" y="5868556"/>
                </a:moveTo>
                <a:lnTo>
                  <a:pt x="10779428" y="5903366"/>
                </a:lnTo>
                <a:lnTo>
                  <a:pt x="10826632" y="5903366"/>
                </a:lnTo>
                <a:lnTo>
                  <a:pt x="10826632" y="6049054"/>
                </a:lnTo>
                <a:lnTo>
                  <a:pt x="10868360" y="6049054"/>
                </a:lnTo>
                <a:lnTo>
                  <a:pt x="10868360" y="5903366"/>
                </a:lnTo>
                <a:lnTo>
                  <a:pt x="10915564" y="5903366"/>
                </a:lnTo>
                <a:lnTo>
                  <a:pt x="10915564" y="5868556"/>
                </a:lnTo>
                <a:close/>
                <a:moveTo>
                  <a:pt x="10602853" y="5868556"/>
                </a:moveTo>
                <a:lnTo>
                  <a:pt x="10602853" y="6049054"/>
                </a:lnTo>
                <a:lnTo>
                  <a:pt x="10714217" y="6049054"/>
                </a:lnTo>
                <a:lnTo>
                  <a:pt x="10714217" y="6014244"/>
                </a:lnTo>
                <a:lnTo>
                  <a:pt x="10644583" y="6014244"/>
                </a:lnTo>
                <a:lnTo>
                  <a:pt x="10644583" y="5868556"/>
                </a:lnTo>
                <a:close/>
                <a:moveTo>
                  <a:pt x="10467490" y="5868556"/>
                </a:moveTo>
                <a:lnTo>
                  <a:pt x="10467490" y="6049054"/>
                </a:lnTo>
                <a:lnTo>
                  <a:pt x="10578854" y="6049054"/>
                </a:lnTo>
                <a:lnTo>
                  <a:pt x="10578854" y="6014244"/>
                </a:lnTo>
                <a:lnTo>
                  <a:pt x="10509217" y="6014244"/>
                </a:lnTo>
                <a:lnTo>
                  <a:pt x="10509217" y="5868556"/>
                </a:lnTo>
                <a:close/>
                <a:moveTo>
                  <a:pt x="10335779" y="5868556"/>
                </a:moveTo>
                <a:cubicBezTo>
                  <a:pt x="10328738" y="5868556"/>
                  <a:pt x="10325345" y="5871907"/>
                  <a:pt x="10324044" y="5878354"/>
                </a:cubicBezTo>
                <a:lnTo>
                  <a:pt x="10289097" y="6049054"/>
                </a:lnTo>
                <a:lnTo>
                  <a:pt x="10330303" y="6049054"/>
                </a:lnTo>
                <a:lnTo>
                  <a:pt x="10338389" y="6005219"/>
                </a:lnTo>
                <a:lnTo>
                  <a:pt x="10394462" y="6005219"/>
                </a:lnTo>
                <a:lnTo>
                  <a:pt x="10402808" y="6049054"/>
                </a:lnTo>
                <a:lnTo>
                  <a:pt x="10444796" y="6049054"/>
                </a:lnTo>
                <a:lnTo>
                  <a:pt x="10408543" y="5878354"/>
                </a:lnTo>
                <a:cubicBezTo>
                  <a:pt x="10407238" y="5871907"/>
                  <a:pt x="10403850" y="5868556"/>
                  <a:pt x="10396809" y="5868556"/>
                </a:cubicBezTo>
                <a:close/>
                <a:moveTo>
                  <a:pt x="422379" y="5753461"/>
                </a:moveTo>
                <a:cubicBezTo>
                  <a:pt x="398211" y="5753461"/>
                  <a:pt x="377223" y="5774521"/>
                  <a:pt x="377223" y="5801324"/>
                </a:cubicBezTo>
                <a:lnTo>
                  <a:pt x="377223" y="6122326"/>
                </a:lnTo>
                <a:cubicBezTo>
                  <a:pt x="377223" y="6149130"/>
                  <a:pt x="398211" y="6170189"/>
                  <a:pt x="422379" y="6170189"/>
                </a:cubicBezTo>
                <a:lnTo>
                  <a:pt x="718117" y="6170189"/>
                </a:lnTo>
                <a:cubicBezTo>
                  <a:pt x="744193" y="6170189"/>
                  <a:pt x="765181" y="6149130"/>
                  <a:pt x="765181" y="6122326"/>
                </a:cubicBezTo>
                <a:lnTo>
                  <a:pt x="765181" y="5801324"/>
                </a:lnTo>
                <a:cubicBezTo>
                  <a:pt x="765181" y="5774521"/>
                  <a:pt x="744193" y="5753461"/>
                  <a:pt x="718117" y="5753461"/>
                </a:cubicBezTo>
                <a:close/>
                <a:moveTo>
                  <a:pt x="12192000" y="0"/>
                </a:moveTo>
                <a:lnTo>
                  <a:pt x="12193200" y="0"/>
                </a:lnTo>
                <a:lnTo>
                  <a:pt x="12193200" y="6861600"/>
                </a:lnTo>
                <a:lnTo>
                  <a:pt x="0" y="6861600"/>
                </a:lnTo>
                <a:lnTo>
                  <a:pt x="0" y="6858000"/>
                </a:lnTo>
                <a:lnTo>
                  <a:pt x="12192000" y="6858000"/>
                </a:lnTo>
                <a:close/>
                <a:moveTo>
                  <a:pt x="0" y="0"/>
                </a:moveTo>
                <a:lnTo>
                  <a:pt x="12191999" y="0"/>
                </a:lnTo>
                <a:lnTo>
                  <a:pt x="12191999" y="4414449"/>
                </a:lnTo>
                <a:lnTo>
                  <a:pt x="12191999" y="4527603"/>
                </a:lnTo>
                <a:lnTo>
                  <a:pt x="12191999" y="5635421"/>
                </a:lnTo>
                <a:cubicBezTo>
                  <a:pt x="12191999" y="6103749"/>
                  <a:pt x="11812345" y="6483403"/>
                  <a:pt x="11344017" y="6483403"/>
                </a:cubicBezTo>
                <a:lnTo>
                  <a:pt x="10222737" y="6483403"/>
                </a:lnTo>
                <a:lnTo>
                  <a:pt x="9813419" y="6483403"/>
                </a:lnTo>
                <a:lnTo>
                  <a:pt x="5765037" y="6483403"/>
                </a:lnTo>
                <a:lnTo>
                  <a:pt x="5765037" y="6483402"/>
                </a:lnTo>
                <a:lnTo>
                  <a:pt x="0" y="6483402"/>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18" name="Title 1">
            <a:extLst>
              <a:ext uri="{FF2B5EF4-FFF2-40B4-BE49-F238E27FC236}">
                <a16:creationId xmlns:a16="http://schemas.microsoft.com/office/drawing/2014/main" id="{534A3BBC-EB91-6315-9808-5035B767D3FE}"/>
              </a:ext>
            </a:extLst>
          </p:cNvPr>
          <p:cNvSpPr>
            <a:spLocks noGrp="1"/>
          </p:cNvSpPr>
          <p:nvPr>
            <p:ph type="ctrTitle" hasCustomPrompt="1"/>
          </p:nvPr>
        </p:nvSpPr>
        <p:spPr>
          <a:xfrm>
            <a:off x="371475" y="1943100"/>
            <a:ext cx="10829925" cy="2550523"/>
          </a:xfrm>
        </p:spPr>
        <p:txBody>
          <a:bodyPr anchor="t"/>
          <a:lstStyle>
            <a:lvl1pPr algn="l">
              <a:lnSpc>
                <a:spcPts val="4800"/>
              </a:lnSpc>
              <a:defRPr sz="4400">
                <a:solidFill>
                  <a:schemeClr val="bg1"/>
                </a:solidFill>
              </a:defRPr>
            </a:lvl1pPr>
          </a:lstStyle>
          <a:p>
            <a:r>
              <a:rPr lang="en-GB"/>
              <a:t>Click to add title</a:t>
            </a:r>
          </a:p>
        </p:txBody>
      </p:sp>
    </p:spTree>
    <p:extLst>
      <p:ext uri="{BB962C8B-B14F-4D97-AF65-F5344CB8AC3E}">
        <p14:creationId xmlns:p14="http://schemas.microsoft.com/office/powerpoint/2010/main" val="15093983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B">
    <p:bg>
      <p:bgPr>
        <a:solidFill>
          <a:schemeClr val="accent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AB12982D-D35D-CD4E-DFD3-3B65652528D8}"/>
              </a:ext>
            </a:extLst>
          </p:cNvPr>
          <p:cNvSpPr/>
          <p:nvPr userDrawn="1"/>
        </p:nvSpPr>
        <p:spPr>
          <a:xfrm>
            <a:off x="-1" y="-1"/>
            <a:ext cx="12192000" cy="6483404"/>
          </a:xfrm>
          <a:custGeom>
            <a:avLst/>
            <a:gdLst>
              <a:gd name="connsiteX0" fmla="*/ 0 w 12192000"/>
              <a:gd name="connsiteY0" fmla="*/ 0 h 6483404"/>
              <a:gd name="connsiteX1" fmla="*/ 8210551 w 12192000"/>
              <a:gd name="connsiteY1" fmla="*/ 0 h 6483404"/>
              <a:gd name="connsiteX2" fmla="*/ 8210551 w 12192000"/>
              <a:gd name="connsiteY2" fmla="*/ 1 h 6483404"/>
              <a:gd name="connsiteX3" fmla="*/ 12192000 w 12192000"/>
              <a:gd name="connsiteY3" fmla="*/ 1 h 6483404"/>
              <a:gd name="connsiteX4" fmla="*/ 12192000 w 12192000"/>
              <a:gd name="connsiteY4" fmla="*/ 4414450 h 6483404"/>
              <a:gd name="connsiteX5" fmla="*/ 12192000 w 12192000"/>
              <a:gd name="connsiteY5" fmla="*/ 4527604 h 6483404"/>
              <a:gd name="connsiteX6" fmla="*/ 12192000 w 12192000"/>
              <a:gd name="connsiteY6" fmla="*/ 5635422 h 6483404"/>
              <a:gd name="connsiteX7" fmla="*/ 11344018 w 12192000"/>
              <a:gd name="connsiteY7" fmla="*/ 6483404 h 6483404"/>
              <a:gd name="connsiteX8" fmla="*/ 10222738 w 12192000"/>
              <a:gd name="connsiteY8" fmla="*/ 6483404 h 6483404"/>
              <a:gd name="connsiteX9" fmla="*/ 9813420 w 12192000"/>
              <a:gd name="connsiteY9" fmla="*/ 6483404 h 6483404"/>
              <a:gd name="connsiteX10" fmla="*/ 5765038 w 12192000"/>
              <a:gd name="connsiteY10" fmla="*/ 6483404 h 6483404"/>
              <a:gd name="connsiteX11" fmla="*/ 5765038 w 12192000"/>
              <a:gd name="connsiteY11" fmla="*/ 6483403 h 6483404"/>
              <a:gd name="connsiteX12" fmla="*/ 0 w 12192000"/>
              <a:gd name="connsiteY12" fmla="*/ 6483403 h 64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483404">
                <a:moveTo>
                  <a:pt x="0" y="0"/>
                </a:moveTo>
                <a:lnTo>
                  <a:pt x="8210551" y="0"/>
                </a:lnTo>
                <a:lnTo>
                  <a:pt x="8210551" y="1"/>
                </a:lnTo>
                <a:lnTo>
                  <a:pt x="12192000" y="1"/>
                </a:lnTo>
                <a:lnTo>
                  <a:pt x="12192000" y="4414450"/>
                </a:lnTo>
                <a:lnTo>
                  <a:pt x="12192000" y="4527604"/>
                </a:lnTo>
                <a:lnTo>
                  <a:pt x="12192000" y="5635422"/>
                </a:lnTo>
                <a:cubicBezTo>
                  <a:pt x="12192000" y="6103750"/>
                  <a:pt x="11812346" y="6483404"/>
                  <a:pt x="11344018" y="6483404"/>
                </a:cubicBezTo>
                <a:lnTo>
                  <a:pt x="10222738" y="6483404"/>
                </a:lnTo>
                <a:lnTo>
                  <a:pt x="9813420" y="6483404"/>
                </a:lnTo>
                <a:lnTo>
                  <a:pt x="5765038" y="6483404"/>
                </a:lnTo>
                <a:lnTo>
                  <a:pt x="5765038" y="6483403"/>
                </a:lnTo>
                <a:lnTo>
                  <a:pt x="0" y="648340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p>
        </p:txBody>
      </p:sp>
      <p:pic>
        <p:nvPicPr>
          <p:cNvPr id="5" name="Picture 4">
            <a:extLst>
              <a:ext uri="{FF2B5EF4-FFF2-40B4-BE49-F238E27FC236}">
                <a16:creationId xmlns:a16="http://schemas.microsoft.com/office/drawing/2014/main" id="{C43A1AF0-8F3A-B813-D2C7-811831038F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1475" y="5751851"/>
            <a:ext cx="1853056" cy="413999"/>
          </a:xfrm>
          <a:prstGeom prst="rect">
            <a:avLst/>
          </a:prstGeom>
        </p:spPr>
      </p:pic>
      <p:sp>
        <p:nvSpPr>
          <p:cNvPr id="15" name="Title 1">
            <a:extLst>
              <a:ext uri="{FF2B5EF4-FFF2-40B4-BE49-F238E27FC236}">
                <a16:creationId xmlns:a16="http://schemas.microsoft.com/office/drawing/2014/main" id="{F779AE45-9325-9747-A087-FA65D14DF943}"/>
              </a:ext>
            </a:extLst>
          </p:cNvPr>
          <p:cNvSpPr>
            <a:spLocks noGrp="1"/>
          </p:cNvSpPr>
          <p:nvPr>
            <p:ph type="ctrTitle" hasCustomPrompt="1"/>
          </p:nvPr>
        </p:nvSpPr>
        <p:spPr>
          <a:xfrm>
            <a:off x="371475" y="1943100"/>
            <a:ext cx="10829925" cy="2550523"/>
          </a:xfrm>
        </p:spPr>
        <p:txBody>
          <a:bodyPr anchor="t"/>
          <a:lstStyle>
            <a:lvl1pPr algn="l">
              <a:lnSpc>
                <a:spcPts val="5800"/>
              </a:lnSpc>
              <a:defRPr sz="5400">
                <a:solidFill>
                  <a:schemeClr val="tx1"/>
                </a:solidFill>
              </a:defRPr>
            </a:lvl1pPr>
          </a:lstStyle>
          <a:p>
            <a:r>
              <a:rPr lang="en-GB"/>
              <a:t>Click to add title</a:t>
            </a:r>
          </a:p>
        </p:txBody>
      </p:sp>
      <p:pic>
        <p:nvPicPr>
          <p:cNvPr id="17" name="Graphic 16">
            <a:extLst>
              <a:ext uri="{FF2B5EF4-FFF2-40B4-BE49-F238E27FC236}">
                <a16:creationId xmlns:a16="http://schemas.microsoft.com/office/drawing/2014/main" id="{EA98EC77-38EE-0D5E-CC88-514A9AE6F6D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289632" y="5868710"/>
            <a:ext cx="1531435" cy="180000"/>
          </a:xfrm>
          <a:prstGeom prst="rect">
            <a:avLst/>
          </a:prstGeom>
        </p:spPr>
      </p:pic>
    </p:spTree>
    <p:extLst>
      <p:ext uri="{BB962C8B-B14F-4D97-AF65-F5344CB8AC3E}">
        <p14:creationId xmlns:p14="http://schemas.microsoft.com/office/powerpoint/2010/main" val="36967238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C">
    <p:bg>
      <p:bgPr>
        <a:solidFill>
          <a:schemeClr val="bg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AB12982D-D35D-CD4E-DFD3-3B65652528D8}"/>
              </a:ext>
            </a:extLst>
          </p:cNvPr>
          <p:cNvSpPr/>
          <p:nvPr userDrawn="1"/>
        </p:nvSpPr>
        <p:spPr>
          <a:xfrm>
            <a:off x="0" y="0"/>
            <a:ext cx="12192000" cy="6483404"/>
          </a:xfrm>
          <a:custGeom>
            <a:avLst/>
            <a:gdLst>
              <a:gd name="connsiteX0" fmla="*/ 0 w 12192000"/>
              <a:gd name="connsiteY0" fmla="*/ 0 h 6483404"/>
              <a:gd name="connsiteX1" fmla="*/ 8210551 w 12192000"/>
              <a:gd name="connsiteY1" fmla="*/ 0 h 6483404"/>
              <a:gd name="connsiteX2" fmla="*/ 8210551 w 12192000"/>
              <a:gd name="connsiteY2" fmla="*/ 1 h 6483404"/>
              <a:gd name="connsiteX3" fmla="*/ 12192000 w 12192000"/>
              <a:gd name="connsiteY3" fmla="*/ 1 h 6483404"/>
              <a:gd name="connsiteX4" fmla="*/ 12192000 w 12192000"/>
              <a:gd name="connsiteY4" fmla="*/ 4414450 h 6483404"/>
              <a:gd name="connsiteX5" fmla="*/ 12192000 w 12192000"/>
              <a:gd name="connsiteY5" fmla="*/ 4527604 h 6483404"/>
              <a:gd name="connsiteX6" fmla="*/ 12192000 w 12192000"/>
              <a:gd name="connsiteY6" fmla="*/ 5635422 h 6483404"/>
              <a:gd name="connsiteX7" fmla="*/ 11344018 w 12192000"/>
              <a:gd name="connsiteY7" fmla="*/ 6483404 h 6483404"/>
              <a:gd name="connsiteX8" fmla="*/ 10222738 w 12192000"/>
              <a:gd name="connsiteY8" fmla="*/ 6483404 h 6483404"/>
              <a:gd name="connsiteX9" fmla="*/ 9813420 w 12192000"/>
              <a:gd name="connsiteY9" fmla="*/ 6483404 h 6483404"/>
              <a:gd name="connsiteX10" fmla="*/ 5765038 w 12192000"/>
              <a:gd name="connsiteY10" fmla="*/ 6483404 h 6483404"/>
              <a:gd name="connsiteX11" fmla="*/ 5765038 w 12192000"/>
              <a:gd name="connsiteY11" fmla="*/ 6483403 h 6483404"/>
              <a:gd name="connsiteX12" fmla="*/ 0 w 12192000"/>
              <a:gd name="connsiteY12" fmla="*/ 6483403 h 64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483404">
                <a:moveTo>
                  <a:pt x="0" y="0"/>
                </a:moveTo>
                <a:lnTo>
                  <a:pt x="8210551" y="0"/>
                </a:lnTo>
                <a:lnTo>
                  <a:pt x="8210551" y="1"/>
                </a:lnTo>
                <a:lnTo>
                  <a:pt x="12192000" y="1"/>
                </a:lnTo>
                <a:lnTo>
                  <a:pt x="12192000" y="4414450"/>
                </a:lnTo>
                <a:lnTo>
                  <a:pt x="12192000" y="4527604"/>
                </a:lnTo>
                <a:lnTo>
                  <a:pt x="12192000" y="5635422"/>
                </a:lnTo>
                <a:cubicBezTo>
                  <a:pt x="12192000" y="6103750"/>
                  <a:pt x="11812346" y="6483404"/>
                  <a:pt x="11344018" y="6483404"/>
                </a:cubicBezTo>
                <a:lnTo>
                  <a:pt x="10222738" y="6483404"/>
                </a:lnTo>
                <a:lnTo>
                  <a:pt x="9813420" y="6483404"/>
                </a:lnTo>
                <a:lnTo>
                  <a:pt x="5765038" y="6483404"/>
                </a:lnTo>
                <a:lnTo>
                  <a:pt x="5765038" y="6483403"/>
                </a:lnTo>
                <a:lnTo>
                  <a:pt x="0" y="64834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p>
        </p:txBody>
      </p:sp>
      <p:sp>
        <p:nvSpPr>
          <p:cNvPr id="15" name="Title 1">
            <a:extLst>
              <a:ext uri="{FF2B5EF4-FFF2-40B4-BE49-F238E27FC236}">
                <a16:creationId xmlns:a16="http://schemas.microsoft.com/office/drawing/2014/main" id="{F779AE45-9325-9747-A087-FA65D14DF943}"/>
              </a:ext>
            </a:extLst>
          </p:cNvPr>
          <p:cNvSpPr>
            <a:spLocks noGrp="1"/>
          </p:cNvSpPr>
          <p:nvPr>
            <p:ph type="ctrTitle" hasCustomPrompt="1"/>
          </p:nvPr>
        </p:nvSpPr>
        <p:spPr>
          <a:xfrm>
            <a:off x="371475" y="1943100"/>
            <a:ext cx="10829925" cy="2550523"/>
          </a:xfrm>
        </p:spPr>
        <p:txBody>
          <a:bodyPr anchor="t"/>
          <a:lstStyle>
            <a:lvl1pPr algn="l">
              <a:lnSpc>
                <a:spcPts val="5800"/>
              </a:lnSpc>
              <a:defRPr sz="5400">
                <a:solidFill>
                  <a:schemeClr val="bg1"/>
                </a:solidFill>
              </a:defRPr>
            </a:lvl1pPr>
          </a:lstStyle>
          <a:p>
            <a:r>
              <a:rPr lang="en-GB"/>
              <a:t>Click to add title</a:t>
            </a:r>
          </a:p>
        </p:txBody>
      </p:sp>
      <p:pic>
        <p:nvPicPr>
          <p:cNvPr id="17" name="Graphic 16">
            <a:extLst>
              <a:ext uri="{FF2B5EF4-FFF2-40B4-BE49-F238E27FC236}">
                <a16:creationId xmlns:a16="http://schemas.microsoft.com/office/drawing/2014/main" id="{EA98EC77-38EE-0D5E-CC88-514A9AE6F6D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89632" y="5868710"/>
            <a:ext cx="1531435" cy="180000"/>
          </a:xfrm>
          <a:prstGeom prst="rect">
            <a:avLst/>
          </a:prstGeom>
        </p:spPr>
      </p:pic>
      <p:pic>
        <p:nvPicPr>
          <p:cNvPr id="4" name="Picture 29">
            <a:extLst>
              <a:ext uri="{FF2B5EF4-FFF2-40B4-BE49-F238E27FC236}">
                <a16:creationId xmlns:a16="http://schemas.microsoft.com/office/drawing/2014/main" id="{CBC55F8E-D332-2671-CC35-F818567F57E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49249" y="5727699"/>
            <a:ext cx="1879200" cy="463364"/>
          </a:xfrm>
          <a:prstGeom prst="rect">
            <a:avLst/>
          </a:prstGeom>
        </p:spPr>
      </p:pic>
    </p:spTree>
    <p:extLst>
      <p:ext uri="{BB962C8B-B14F-4D97-AF65-F5344CB8AC3E}">
        <p14:creationId xmlns:p14="http://schemas.microsoft.com/office/powerpoint/2010/main" val="35000486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D">
    <p:bg>
      <p:bgPr>
        <a:solidFill>
          <a:schemeClr val="bg1"/>
        </a:solid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2E8F0CCD-13ED-0EE3-3B03-3E5899CC73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4650" y="6075701"/>
            <a:ext cx="1853056" cy="413999"/>
          </a:xfrm>
          <a:prstGeom prst="rect">
            <a:avLst/>
          </a:prstGeom>
        </p:spPr>
      </p:pic>
      <p:pic>
        <p:nvPicPr>
          <p:cNvPr id="4" name="Graphic 3">
            <a:extLst>
              <a:ext uri="{FF2B5EF4-FFF2-40B4-BE49-F238E27FC236}">
                <a16:creationId xmlns:a16="http://schemas.microsoft.com/office/drawing/2014/main" id="{7CBE64CD-AD7A-FBDE-6068-9A34E97C021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289090" y="6188152"/>
            <a:ext cx="1531435" cy="180000"/>
          </a:xfrm>
          <a:prstGeom prst="rect">
            <a:avLst/>
          </a:prstGeom>
        </p:spPr>
      </p:pic>
      <p:sp>
        <p:nvSpPr>
          <p:cNvPr id="21" name="Freeform 20">
            <a:extLst>
              <a:ext uri="{FF2B5EF4-FFF2-40B4-BE49-F238E27FC236}">
                <a16:creationId xmlns:a16="http://schemas.microsoft.com/office/drawing/2014/main" id="{23333BE9-BDFC-E99A-B635-C5AD934F45C8}"/>
              </a:ext>
            </a:extLst>
          </p:cNvPr>
          <p:cNvSpPr/>
          <p:nvPr userDrawn="1"/>
        </p:nvSpPr>
        <p:spPr>
          <a:xfrm>
            <a:off x="2854358" y="-3600"/>
            <a:ext cx="6426962" cy="6861600"/>
          </a:xfrm>
          <a:custGeom>
            <a:avLst/>
            <a:gdLst>
              <a:gd name="connsiteX0" fmla="*/ 0 w 6426962"/>
              <a:gd name="connsiteY0" fmla="*/ 0 h 6858000"/>
              <a:gd name="connsiteX1" fmla="*/ 4457700 w 6426962"/>
              <a:gd name="connsiteY1" fmla="*/ 0 h 6858000"/>
              <a:gd name="connsiteX2" fmla="*/ 4457700 w 6426962"/>
              <a:gd name="connsiteY2" fmla="*/ 0 h 6858000"/>
              <a:gd name="connsiteX3" fmla="*/ 6426962 w 6426962"/>
              <a:gd name="connsiteY3" fmla="*/ 0 h 6858000"/>
              <a:gd name="connsiteX4" fmla="*/ 6426962 w 6426962"/>
              <a:gd name="connsiteY4" fmla="*/ 4789046 h 6858000"/>
              <a:gd name="connsiteX5" fmla="*/ 6426962 w 6426962"/>
              <a:gd name="connsiteY5" fmla="*/ 4902200 h 6858000"/>
              <a:gd name="connsiteX6" fmla="*/ 6426962 w 6426962"/>
              <a:gd name="connsiteY6" fmla="*/ 6010018 h 6858000"/>
              <a:gd name="connsiteX7" fmla="*/ 5578980 w 6426962"/>
              <a:gd name="connsiteY7" fmla="*/ 6858000 h 6858000"/>
              <a:gd name="connsiteX8" fmla="*/ 4457700 w 6426962"/>
              <a:gd name="connsiteY8" fmla="*/ 6858000 h 6858000"/>
              <a:gd name="connsiteX9" fmla="*/ 4048382 w 6426962"/>
              <a:gd name="connsiteY9" fmla="*/ 6858000 h 6858000"/>
              <a:gd name="connsiteX10" fmla="*/ 0 w 6426962"/>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6962" h="6858000">
                <a:moveTo>
                  <a:pt x="0" y="0"/>
                </a:moveTo>
                <a:lnTo>
                  <a:pt x="4457700" y="0"/>
                </a:lnTo>
                <a:lnTo>
                  <a:pt x="4457700" y="0"/>
                </a:lnTo>
                <a:lnTo>
                  <a:pt x="6426962" y="0"/>
                </a:lnTo>
                <a:lnTo>
                  <a:pt x="6426962" y="4789046"/>
                </a:lnTo>
                <a:lnTo>
                  <a:pt x="6426962" y="4902200"/>
                </a:lnTo>
                <a:lnTo>
                  <a:pt x="6426962" y="6010018"/>
                </a:lnTo>
                <a:cubicBezTo>
                  <a:pt x="6426962" y="6478346"/>
                  <a:pt x="6047308" y="6858000"/>
                  <a:pt x="5578980" y="6858000"/>
                </a:cubicBezTo>
                <a:lnTo>
                  <a:pt x="4457700" y="6858000"/>
                </a:lnTo>
                <a:lnTo>
                  <a:pt x="4048382"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p>
        </p:txBody>
      </p:sp>
      <p:sp>
        <p:nvSpPr>
          <p:cNvPr id="35" name="Picture Placeholder 34">
            <a:extLst>
              <a:ext uri="{FF2B5EF4-FFF2-40B4-BE49-F238E27FC236}">
                <a16:creationId xmlns:a16="http://schemas.microsoft.com/office/drawing/2014/main" id="{89AC51BB-264A-1609-8951-4D9DDFC3BE77}"/>
              </a:ext>
            </a:extLst>
          </p:cNvPr>
          <p:cNvSpPr>
            <a:spLocks noGrp="1"/>
          </p:cNvSpPr>
          <p:nvPr>
            <p:ph type="pic" sz="quarter" idx="13" hasCustomPrompt="1"/>
          </p:nvPr>
        </p:nvSpPr>
        <p:spPr>
          <a:xfrm>
            <a:off x="0" y="-3600"/>
            <a:ext cx="8911685" cy="6861600"/>
          </a:xfrm>
          <a:custGeom>
            <a:avLst/>
            <a:gdLst>
              <a:gd name="connsiteX0" fmla="*/ 1657413 w 8911685"/>
              <a:gd name="connsiteY0" fmla="*/ 6230260 h 6861600"/>
              <a:gd name="connsiteX1" fmla="*/ 1747724 w 8911685"/>
              <a:gd name="connsiteY1" fmla="*/ 6230260 h 6861600"/>
              <a:gd name="connsiteX2" fmla="*/ 1747724 w 8911685"/>
              <a:gd name="connsiteY2" fmla="*/ 6278123 h 6861600"/>
              <a:gd name="connsiteX3" fmla="*/ 1657413 w 8911685"/>
              <a:gd name="connsiteY3" fmla="*/ 6278123 h 6861600"/>
              <a:gd name="connsiteX4" fmla="*/ 1280903 w 8911685"/>
              <a:gd name="connsiteY4" fmla="*/ 6228345 h 6861600"/>
              <a:gd name="connsiteX5" fmla="*/ 1312703 w 8911685"/>
              <a:gd name="connsiteY5" fmla="*/ 6306841 h 6861600"/>
              <a:gd name="connsiteX6" fmla="*/ 1249104 w 8911685"/>
              <a:gd name="connsiteY6" fmla="*/ 6306841 h 6861600"/>
              <a:gd name="connsiteX7" fmla="*/ 2035831 w 8911685"/>
              <a:gd name="connsiteY7" fmla="*/ 6194522 h 6861600"/>
              <a:gd name="connsiteX8" fmla="*/ 2035831 w 8911685"/>
              <a:gd name="connsiteY8" fmla="*/ 6377678 h 6861600"/>
              <a:gd name="connsiteX9" fmla="*/ 2079715 w 8911685"/>
              <a:gd name="connsiteY9" fmla="*/ 6377678 h 6861600"/>
              <a:gd name="connsiteX10" fmla="*/ 2079715 w 8911685"/>
              <a:gd name="connsiteY10" fmla="*/ 6293439 h 6861600"/>
              <a:gd name="connsiteX11" fmla="*/ 2162394 w 8911685"/>
              <a:gd name="connsiteY11" fmla="*/ 6377678 h 6861600"/>
              <a:gd name="connsiteX12" fmla="*/ 2222814 w 8911685"/>
              <a:gd name="connsiteY12" fmla="*/ 6377678 h 6861600"/>
              <a:gd name="connsiteX13" fmla="*/ 2122963 w 8911685"/>
              <a:gd name="connsiteY13" fmla="*/ 6280037 h 6861600"/>
              <a:gd name="connsiteX14" fmla="*/ 2218998 w 8911685"/>
              <a:gd name="connsiteY14" fmla="*/ 6194522 h 6861600"/>
              <a:gd name="connsiteX15" fmla="*/ 2160486 w 8911685"/>
              <a:gd name="connsiteY15" fmla="*/ 6194522 h 6861600"/>
              <a:gd name="connsiteX16" fmla="*/ 2079715 w 8911685"/>
              <a:gd name="connsiteY16" fmla="*/ 6268550 h 6861600"/>
              <a:gd name="connsiteX17" fmla="*/ 2079715 w 8911685"/>
              <a:gd name="connsiteY17" fmla="*/ 6194522 h 6861600"/>
              <a:gd name="connsiteX18" fmla="*/ 1614165 w 8911685"/>
              <a:gd name="connsiteY18" fmla="*/ 6194522 h 6861600"/>
              <a:gd name="connsiteX19" fmla="*/ 1614165 w 8911685"/>
              <a:gd name="connsiteY19" fmla="*/ 6377678 h 6861600"/>
              <a:gd name="connsiteX20" fmla="*/ 1657413 w 8911685"/>
              <a:gd name="connsiteY20" fmla="*/ 6377678 h 6861600"/>
              <a:gd name="connsiteX21" fmla="*/ 1657413 w 8911685"/>
              <a:gd name="connsiteY21" fmla="*/ 6314499 h 6861600"/>
              <a:gd name="connsiteX22" fmla="*/ 1704477 w 8911685"/>
              <a:gd name="connsiteY22" fmla="*/ 6314499 h 6861600"/>
              <a:gd name="connsiteX23" fmla="*/ 1743908 w 8911685"/>
              <a:gd name="connsiteY23" fmla="*/ 6377678 h 6861600"/>
              <a:gd name="connsiteX24" fmla="*/ 1790972 w 8911685"/>
              <a:gd name="connsiteY24" fmla="*/ 6377678 h 6861600"/>
              <a:gd name="connsiteX25" fmla="*/ 1749632 w 8911685"/>
              <a:gd name="connsiteY25" fmla="*/ 6314499 h 6861600"/>
              <a:gd name="connsiteX26" fmla="*/ 1753448 w 8911685"/>
              <a:gd name="connsiteY26" fmla="*/ 6314499 h 6861600"/>
              <a:gd name="connsiteX27" fmla="*/ 1789064 w 8911685"/>
              <a:gd name="connsiteY27" fmla="*/ 6285781 h 6861600"/>
              <a:gd name="connsiteX28" fmla="*/ 1789064 w 8911685"/>
              <a:gd name="connsiteY28" fmla="*/ 6225154 h 6861600"/>
              <a:gd name="connsiteX29" fmla="*/ 1759172 w 8911685"/>
              <a:gd name="connsiteY29" fmla="*/ 6194522 h 6861600"/>
              <a:gd name="connsiteX30" fmla="*/ 1408738 w 8911685"/>
              <a:gd name="connsiteY30" fmla="*/ 6194522 h 6861600"/>
              <a:gd name="connsiteX31" fmla="*/ 1408738 w 8911685"/>
              <a:gd name="connsiteY31" fmla="*/ 6377678 h 6861600"/>
              <a:gd name="connsiteX32" fmla="*/ 1582365 w 8911685"/>
              <a:gd name="connsiteY32" fmla="*/ 6377678 h 6861600"/>
              <a:gd name="connsiteX33" fmla="*/ 1582365 w 8911685"/>
              <a:gd name="connsiteY33" fmla="*/ 6341302 h 6861600"/>
              <a:gd name="connsiteX34" fmla="*/ 1450078 w 8911685"/>
              <a:gd name="connsiteY34" fmla="*/ 6341302 h 6861600"/>
              <a:gd name="connsiteX35" fmla="*/ 1450078 w 8911685"/>
              <a:gd name="connsiteY35" fmla="*/ 6303012 h 6861600"/>
              <a:gd name="connsiteX36" fmla="*/ 1563285 w 8911685"/>
              <a:gd name="connsiteY36" fmla="*/ 6303012 h 6861600"/>
              <a:gd name="connsiteX37" fmla="*/ 1563285 w 8911685"/>
              <a:gd name="connsiteY37" fmla="*/ 6266636 h 6861600"/>
              <a:gd name="connsiteX38" fmla="*/ 1450078 w 8911685"/>
              <a:gd name="connsiteY38" fmla="*/ 6266636 h 6861600"/>
              <a:gd name="connsiteX39" fmla="*/ 1450078 w 8911685"/>
              <a:gd name="connsiteY39" fmla="*/ 6230260 h 6861600"/>
              <a:gd name="connsiteX40" fmla="*/ 1580457 w 8911685"/>
              <a:gd name="connsiteY40" fmla="*/ 6230260 h 6861600"/>
              <a:gd name="connsiteX41" fmla="*/ 1580457 w 8911685"/>
              <a:gd name="connsiteY41" fmla="*/ 6194522 h 6861600"/>
              <a:gd name="connsiteX42" fmla="*/ 1252284 w 8911685"/>
              <a:gd name="connsiteY42" fmla="*/ 6194522 h 6861600"/>
              <a:gd name="connsiteX43" fmla="*/ 1171512 w 8911685"/>
              <a:gd name="connsiteY43" fmla="*/ 6377678 h 6861600"/>
              <a:gd name="connsiteX44" fmla="*/ 1218576 w 8911685"/>
              <a:gd name="connsiteY44" fmla="*/ 6377678 h 6861600"/>
              <a:gd name="connsiteX45" fmla="*/ 1233840 w 8911685"/>
              <a:gd name="connsiteY45" fmla="*/ 6341302 h 6861600"/>
              <a:gd name="connsiteX46" fmla="*/ 1327967 w 8911685"/>
              <a:gd name="connsiteY46" fmla="*/ 6341302 h 6861600"/>
              <a:gd name="connsiteX47" fmla="*/ 1345139 w 8911685"/>
              <a:gd name="connsiteY47" fmla="*/ 6377678 h 6861600"/>
              <a:gd name="connsiteX48" fmla="*/ 1390295 w 8911685"/>
              <a:gd name="connsiteY48" fmla="*/ 6377678 h 6861600"/>
              <a:gd name="connsiteX49" fmla="*/ 1308887 w 8911685"/>
              <a:gd name="connsiteY49" fmla="*/ 6194522 h 6861600"/>
              <a:gd name="connsiteX50" fmla="*/ 940009 w 8911685"/>
              <a:gd name="connsiteY50" fmla="*/ 6194522 h 6861600"/>
              <a:gd name="connsiteX51" fmla="*/ 940009 w 8911685"/>
              <a:gd name="connsiteY51" fmla="*/ 6377678 h 6861600"/>
              <a:gd name="connsiteX52" fmla="*/ 979441 w 8911685"/>
              <a:gd name="connsiteY52" fmla="*/ 6377678 h 6861600"/>
              <a:gd name="connsiteX53" fmla="*/ 979441 w 8911685"/>
              <a:gd name="connsiteY53" fmla="*/ 6272379 h 6861600"/>
              <a:gd name="connsiteX54" fmla="*/ 1026505 w 8911685"/>
              <a:gd name="connsiteY54" fmla="*/ 6377678 h 6861600"/>
              <a:gd name="connsiteX55" fmla="*/ 1067844 w 8911685"/>
              <a:gd name="connsiteY55" fmla="*/ 6377678 h 6861600"/>
              <a:gd name="connsiteX56" fmla="*/ 1114908 w 8911685"/>
              <a:gd name="connsiteY56" fmla="*/ 6270465 h 6861600"/>
              <a:gd name="connsiteX57" fmla="*/ 1114908 w 8911685"/>
              <a:gd name="connsiteY57" fmla="*/ 6377678 h 6861600"/>
              <a:gd name="connsiteX58" fmla="*/ 1154340 w 8911685"/>
              <a:gd name="connsiteY58" fmla="*/ 6377678 h 6861600"/>
              <a:gd name="connsiteX59" fmla="*/ 1154340 w 8911685"/>
              <a:gd name="connsiteY59" fmla="*/ 6194522 h 6861600"/>
              <a:gd name="connsiteX60" fmla="*/ 1107276 w 8911685"/>
              <a:gd name="connsiteY60" fmla="*/ 6194522 h 6861600"/>
              <a:gd name="connsiteX61" fmla="*/ 1046857 w 8911685"/>
              <a:gd name="connsiteY61" fmla="*/ 6331730 h 6861600"/>
              <a:gd name="connsiteX62" fmla="*/ 987073 w 8911685"/>
              <a:gd name="connsiteY62" fmla="*/ 6194522 h 6861600"/>
              <a:gd name="connsiteX63" fmla="*/ 1853300 w 8911685"/>
              <a:gd name="connsiteY63" fmla="*/ 6193884 h 6861600"/>
              <a:gd name="connsiteX64" fmla="*/ 1825316 w 8911685"/>
              <a:gd name="connsiteY64" fmla="*/ 6222602 h 6861600"/>
              <a:gd name="connsiteX65" fmla="*/ 1825316 w 8911685"/>
              <a:gd name="connsiteY65" fmla="*/ 6276209 h 6861600"/>
              <a:gd name="connsiteX66" fmla="*/ 1853300 w 8911685"/>
              <a:gd name="connsiteY66" fmla="*/ 6303012 h 6861600"/>
              <a:gd name="connsiteX67" fmla="*/ 1955059 w 8911685"/>
              <a:gd name="connsiteY67" fmla="*/ 6303012 h 6861600"/>
              <a:gd name="connsiteX68" fmla="*/ 1955059 w 8911685"/>
              <a:gd name="connsiteY68" fmla="*/ 6341302 h 6861600"/>
              <a:gd name="connsiteX69" fmla="*/ 1866656 w 8911685"/>
              <a:gd name="connsiteY69" fmla="*/ 6341302 h 6861600"/>
              <a:gd name="connsiteX70" fmla="*/ 1866656 w 8911685"/>
              <a:gd name="connsiteY70" fmla="*/ 6327901 h 6861600"/>
              <a:gd name="connsiteX71" fmla="*/ 1823408 w 8911685"/>
              <a:gd name="connsiteY71" fmla="*/ 6327901 h 6861600"/>
              <a:gd name="connsiteX72" fmla="*/ 1823408 w 8911685"/>
              <a:gd name="connsiteY72" fmla="*/ 6350875 h 6861600"/>
              <a:gd name="connsiteX73" fmla="*/ 1851392 w 8911685"/>
              <a:gd name="connsiteY73" fmla="*/ 6377678 h 6861600"/>
              <a:gd name="connsiteX74" fmla="*/ 1866656 w 8911685"/>
              <a:gd name="connsiteY74" fmla="*/ 6377678 h 6861600"/>
              <a:gd name="connsiteX75" fmla="*/ 1968415 w 8911685"/>
              <a:gd name="connsiteY75" fmla="*/ 6377678 h 6861600"/>
              <a:gd name="connsiteX76" fmla="*/ 1996399 w 8911685"/>
              <a:gd name="connsiteY76" fmla="*/ 6348961 h 6861600"/>
              <a:gd name="connsiteX77" fmla="*/ 1996399 w 8911685"/>
              <a:gd name="connsiteY77" fmla="*/ 6297268 h 6861600"/>
              <a:gd name="connsiteX78" fmla="*/ 1968415 w 8911685"/>
              <a:gd name="connsiteY78" fmla="*/ 6266636 h 6861600"/>
              <a:gd name="connsiteX79" fmla="*/ 1866656 w 8911685"/>
              <a:gd name="connsiteY79" fmla="*/ 6266636 h 6861600"/>
              <a:gd name="connsiteX80" fmla="*/ 1866656 w 8911685"/>
              <a:gd name="connsiteY80" fmla="*/ 6230260 h 6861600"/>
              <a:gd name="connsiteX81" fmla="*/ 1955059 w 8911685"/>
              <a:gd name="connsiteY81" fmla="*/ 6230260 h 6861600"/>
              <a:gd name="connsiteX82" fmla="*/ 1955059 w 8911685"/>
              <a:gd name="connsiteY82" fmla="*/ 6245576 h 6861600"/>
              <a:gd name="connsiteX83" fmla="*/ 1996399 w 8911685"/>
              <a:gd name="connsiteY83" fmla="*/ 6245576 h 6861600"/>
              <a:gd name="connsiteX84" fmla="*/ 1996399 w 8911685"/>
              <a:gd name="connsiteY84" fmla="*/ 6224516 h 6861600"/>
              <a:gd name="connsiteX85" fmla="*/ 1970323 w 8911685"/>
              <a:gd name="connsiteY85" fmla="*/ 6193884 h 6861600"/>
              <a:gd name="connsiteX86" fmla="*/ 423579 w 8911685"/>
              <a:gd name="connsiteY86" fmla="*/ 6077736 h 6861600"/>
              <a:gd name="connsiteX87" fmla="*/ 378423 w 8911685"/>
              <a:gd name="connsiteY87" fmla="*/ 6125599 h 6861600"/>
              <a:gd name="connsiteX88" fmla="*/ 378423 w 8911685"/>
              <a:gd name="connsiteY88" fmla="*/ 6446601 h 6861600"/>
              <a:gd name="connsiteX89" fmla="*/ 423579 w 8911685"/>
              <a:gd name="connsiteY89" fmla="*/ 6494464 h 6861600"/>
              <a:gd name="connsiteX90" fmla="*/ 719317 w 8911685"/>
              <a:gd name="connsiteY90" fmla="*/ 6494464 h 6861600"/>
              <a:gd name="connsiteX91" fmla="*/ 766381 w 8911685"/>
              <a:gd name="connsiteY91" fmla="*/ 6446601 h 6861600"/>
              <a:gd name="connsiteX92" fmla="*/ 766381 w 8911685"/>
              <a:gd name="connsiteY92" fmla="*/ 6125599 h 6861600"/>
              <a:gd name="connsiteX93" fmla="*/ 719317 w 8911685"/>
              <a:gd name="connsiteY93" fmla="*/ 6077736 h 6861600"/>
              <a:gd name="connsiteX94" fmla="*/ 0 w 8911685"/>
              <a:gd name="connsiteY94" fmla="*/ 0 h 6861600"/>
              <a:gd name="connsiteX95" fmla="*/ 8911685 w 8911685"/>
              <a:gd name="connsiteY95" fmla="*/ 3551 h 6861600"/>
              <a:gd name="connsiteX96" fmla="*/ 8911685 w 8911685"/>
              <a:gd name="connsiteY96" fmla="*/ 6021290 h 6861600"/>
              <a:gd name="connsiteX97" fmla="*/ 8157291 w 8911685"/>
              <a:gd name="connsiteY97" fmla="*/ 6857262 h 6861600"/>
              <a:gd name="connsiteX98" fmla="*/ 8071384 w 8911685"/>
              <a:gd name="connsiteY98" fmla="*/ 6861600 h 6861600"/>
              <a:gd name="connsiteX99" fmla="*/ 0 w 8911685"/>
              <a:gd name="connsiteY99"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8911685" h="6861600">
                <a:moveTo>
                  <a:pt x="1657413" y="6230260"/>
                </a:moveTo>
                <a:lnTo>
                  <a:pt x="1747724" y="6230260"/>
                </a:lnTo>
                <a:lnTo>
                  <a:pt x="1747724" y="6278123"/>
                </a:lnTo>
                <a:lnTo>
                  <a:pt x="1657413" y="6278123"/>
                </a:lnTo>
                <a:close/>
                <a:moveTo>
                  <a:pt x="1280903" y="6228345"/>
                </a:moveTo>
                <a:lnTo>
                  <a:pt x="1312703" y="6306841"/>
                </a:lnTo>
                <a:lnTo>
                  <a:pt x="1249104" y="6306841"/>
                </a:lnTo>
                <a:close/>
                <a:moveTo>
                  <a:pt x="2035831" y="6194522"/>
                </a:moveTo>
                <a:lnTo>
                  <a:pt x="2035831" y="6377678"/>
                </a:lnTo>
                <a:lnTo>
                  <a:pt x="2079715" y="6377678"/>
                </a:lnTo>
                <a:lnTo>
                  <a:pt x="2079715" y="6293439"/>
                </a:lnTo>
                <a:lnTo>
                  <a:pt x="2162394" y="6377678"/>
                </a:lnTo>
                <a:lnTo>
                  <a:pt x="2222814" y="6377678"/>
                </a:lnTo>
                <a:lnTo>
                  <a:pt x="2122963" y="6280037"/>
                </a:lnTo>
                <a:lnTo>
                  <a:pt x="2218998" y="6194522"/>
                </a:lnTo>
                <a:lnTo>
                  <a:pt x="2160486" y="6194522"/>
                </a:lnTo>
                <a:lnTo>
                  <a:pt x="2079715" y="6268550"/>
                </a:lnTo>
                <a:lnTo>
                  <a:pt x="2079715" y="6194522"/>
                </a:lnTo>
                <a:close/>
                <a:moveTo>
                  <a:pt x="1614165" y="6194522"/>
                </a:moveTo>
                <a:lnTo>
                  <a:pt x="1614165" y="6377678"/>
                </a:lnTo>
                <a:lnTo>
                  <a:pt x="1657413" y="6377678"/>
                </a:lnTo>
                <a:lnTo>
                  <a:pt x="1657413" y="6314499"/>
                </a:lnTo>
                <a:lnTo>
                  <a:pt x="1704477" y="6314499"/>
                </a:lnTo>
                <a:lnTo>
                  <a:pt x="1743908" y="6377678"/>
                </a:lnTo>
                <a:lnTo>
                  <a:pt x="1790972" y="6377678"/>
                </a:lnTo>
                <a:lnTo>
                  <a:pt x="1749632" y="6314499"/>
                </a:lnTo>
                <a:lnTo>
                  <a:pt x="1753448" y="6314499"/>
                </a:lnTo>
                <a:cubicBezTo>
                  <a:pt x="1777616" y="6314499"/>
                  <a:pt x="1789064" y="6301097"/>
                  <a:pt x="1789064" y="6285781"/>
                </a:cubicBezTo>
                <a:lnTo>
                  <a:pt x="1789064" y="6225154"/>
                </a:lnTo>
                <a:cubicBezTo>
                  <a:pt x="1789064" y="6206009"/>
                  <a:pt x="1777616" y="6194522"/>
                  <a:pt x="1759172" y="6194522"/>
                </a:cubicBezTo>
                <a:close/>
                <a:moveTo>
                  <a:pt x="1408738" y="6194522"/>
                </a:moveTo>
                <a:lnTo>
                  <a:pt x="1408738" y="6377678"/>
                </a:lnTo>
                <a:lnTo>
                  <a:pt x="1582365" y="6377678"/>
                </a:lnTo>
                <a:lnTo>
                  <a:pt x="1582365" y="6341302"/>
                </a:lnTo>
                <a:lnTo>
                  <a:pt x="1450078" y="6341302"/>
                </a:lnTo>
                <a:lnTo>
                  <a:pt x="1450078" y="6303012"/>
                </a:lnTo>
                <a:lnTo>
                  <a:pt x="1563285" y="6303012"/>
                </a:lnTo>
                <a:lnTo>
                  <a:pt x="1563285" y="6266636"/>
                </a:lnTo>
                <a:lnTo>
                  <a:pt x="1450078" y="6266636"/>
                </a:lnTo>
                <a:lnTo>
                  <a:pt x="1450078" y="6230260"/>
                </a:lnTo>
                <a:lnTo>
                  <a:pt x="1580457" y="6230260"/>
                </a:lnTo>
                <a:lnTo>
                  <a:pt x="1580457" y="6194522"/>
                </a:lnTo>
                <a:close/>
                <a:moveTo>
                  <a:pt x="1252284" y="6194522"/>
                </a:moveTo>
                <a:lnTo>
                  <a:pt x="1171512" y="6377678"/>
                </a:lnTo>
                <a:lnTo>
                  <a:pt x="1218576" y="6377678"/>
                </a:lnTo>
                <a:lnTo>
                  <a:pt x="1233840" y="6341302"/>
                </a:lnTo>
                <a:lnTo>
                  <a:pt x="1327967" y="6341302"/>
                </a:lnTo>
                <a:lnTo>
                  <a:pt x="1345139" y="6377678"/>
                </a:lnTo>
                <a:lnTo>
                  <a:pt x="1390295" y="6377678"/>
                </a:lnTo>
                <a:lnTo>
                  <a:pt x="1308887" y="6194522"/>
                </a:lnTo>
                <a:close/>
                <a:moveTo>
                  <a:pt x="940009" y="6194522"/>
                </a:moveTo>
                <a:lnTo>
                  <a:pt x="940009" y="6377678"/>
                </a:lnTo>
                <a:lnTo>
                  <a:pt x="979441" y="6377678"/>
                </a:lnTo>
                <a:lnTo>
                  <a:pt x="979441" y="6272379"/>
                </a:lnTo>
                <a:lnTo>
                  <a:pt x="1026505" y="6377678"/>
                </a:lnTo>
                <a:lnTo>
                  <a:pt x="1067844" y="6377678"/>
                </a:lnTo>
                <a:lnTo>
                  <a:pt x="1114908" y="6270465"/>
                </a:lnTo>
                <a:lnTo>
                  <a:pt x="1114908" y="6377678"/>
                </a:lnTo>
                <a:lnTo>
                  <a:pt x="1154340" y="6377678"/>
                </a:lnTo>
                <a:lnTo>
                  <a:pt x="1154340" y="6194522"/>
                </a:lnTo>
                <a:lnTo>
                  <a:pt x="1107276" y="6194522"/>
                </a:lnTo>
                <a:lnTo>
                  <a:pt x="1046857" y="6331730"/>
                </a:lnTo>
                <a:lnTo>
                  <a:pt x="987073" y="6194522"/>
                </a:lnTo>
                <a:close/>
                <a:moveTo>
                  <a:pt x="1853300" y="6193884"/>
                </a:moveTo>
                <a:cubicBezTo>
                  <a:pt x="1838672" y="6193884"/>
                  <a:pt x="1825316" y="6205371"/>
                  <a:pt x="1825316" y="6222602"/>
                </a:cubicBezTo>
                <a:lnTo>
                  <a:pt x="1825316" y="6276209"/>
                </a:lnTo>
                <a:cubicBezTo>
                  <a:pt x="1825316" y="6291525"/>
                  <a:pt x="1836128" y="6303012"/>
                  <a:pt x="1853300" y="6303012"/>
                </a:cubicBezTo>
                <a:lnTo>
                  <a:pt x="1955059" y="6303012"/>
                </a:lnTo>
                <a:lnTo>
                  <a:pt x="1955059" y="6341302"/>
                </a:lnTo>
                <a:lnTo>
                  <a:pt x="1866656" y="6341302"/>
                </a:lnTo>
                <a:lnTo>
                  <a:pt x="1866656" y="6327901"/>
                </a:lnTo>
                <a:lnTo>
                  <a:pt x="1823408" y="6327901"/>
                </a:lnTo>
                <a:lnTo>
                  <a:pt x="1823408" y="6350875"/>
                </a:lnTo>
                <a:cubicBezTo>
                  <a:pt x="1823408" y="6366191"/>
                  <a:pt x="1832312" y="6377678"/>
                  <a:pt x="1851392" y="6377678"/>
                </a:cubicBezTo>
                <a:lnTo>
                  <a:pt x="1866656" y="6377678"/>
                </a:lnTo>
                <a:lnTo>
                  <a:pt x="1968415" y="6377678"/>
                </a:lnTo>
                <a:cubicBezTo>
                  <a:pt x="1986859" y="6377678"/>
                  <a:pt x="1996399" y="6366191"/>
                  <a:pt x="1996399" y="6348961"/>
                </a:cubicBezTo>
                <a:lnTo>
                  <a:pt x="1996399" y="6297268"/>
                </a:lnTo>
                <a:cubicBezTo>
                  <a:pt x="1996399" y="6278123"/>
                  <a:pt x="1983679" y="6266636"/>
                  <a:pt x="1968415" y="6266636"/>
                </a:cubicBezTo>
                <a:lnTo>
                  <a:pt x="1866656" y="6266636"/>
                </a:lnTo>
                <a:lnTo>
                  <a:pt x="1866656" y="6230260"/>
                </a:lnTo>
                <a:lnTo>
                  <a:pt x="1955059" y="6230260"/>
                </a:lnTo>
                <a:lnTo>
                  <a:pt x="1955059" y="6245576"/>
                </a:lnTo>
                <a:lnTo>
                  <a:pt x="1996399" y="6245576"/>
                </a:lnTo>
                <a:lnTo>
                  <a:pt x="1996399" y="6224516"/>
                </a:lnTo>
                <a:cubicBezTo>
                  <a:pt x="1996399" y="6205371"/>
                  <a:pt x="1985587" y="6193884"/>
                  <a:pt x="1970323" y="6193884"/>
                </a:cubicBezTo>
                <a:close/>
                <a:moveTo>
                  <a:pt x="423579" y="6077736"/>
                </a:moveTo>
                <a:cubicBezTo>
                  <a:pt x="399411" y="6077736"/>
                  <a:pt x="378423" y="6098796"/>
                  <a:pt x="378423" y="6125599"/>
                </a:cubicBezTo>
                <a:lnTo>
                  <a:pt x="378423" y="6446601"/>
                </a:lnTo>
                <a:cubicBezTo>
                  <a:pt x="378423" y="6473405"/>
                  <a:pt x="399411" y="6494464"/>
                  <a:pt x="423579" y="6494464"/>
                </a:cubicBezTo>
                <a:lnTo>
                  <a:pt x="719317" y="6494464"/>
                </a:lnTo>
                <a:cubicBezTo>
                  <a:pt x="745393" y="6494464"/>
                  <a:pt x="766381" y="6473405"/>
                  <a:pt x="766381" y="6446601"/>
                </a:cubicBezTo>
                <a:lnTo>
                  <a:pt x="766381" y="6125599"/>
                </a:lnTo>
                <a:cubicBezTo>
                  <a:pt x="766381" y="6098796"/>
                  <a:pt x="745393" y="6077736"/>
                  <a:pt x="719317" y="6077736"/>
                </a:cubicBezTo>
                <a:close/>
                <a:moveTo>
                  <a:pt x="0" y="0"/>
                </a:moveTo>
                <a:lnTo>
                  <a:pt x="8911685" y="3551"/>
                </a:lnTo>
                <a:lnTo>
                  <a:pt x="8911685" y="6021290"/>
                </a:lnTo>
                <a:cubicBezTo>
                  <a:pt x="8911685" y="6456375"/>
                  <a:pt x="8581023" y="6814230"/>
                  <a:pt x="8157291" y="6857262"/>
                </a:cubicBezTo>
                <a:lnTo>
                  <a:pt x="8071384"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26" name="Title 1">
            <a:extLst>
              <a:ext uri="{FF2B5EF4-FFF2-40B4-BE49-F238E27FC236}">
                <a16:creationId xmlns:a16="http://schemas.microsoft.com/office/drawing/2014/main" id="{59257972-5121-7C61-D1A1-B1409EF2A531}"/>
              </a:ext>
            </a:extLst>
          </p:cNvPr>
          <p:cNvSpPr>
            <a:spLocks noGrp="1"/>
          </p:cNvSpPr>
          <p:nvPr>
            <p:ph type="ctrTitle" hasCustomPrompt="1"/>
          </p:nvPr>
        </p:nvSpPr>
        <p:spPr>
          <a:xfrm>
            <a:off x="371475" y="4267733"/>
            <a:ext cx="7962297" cy="1634060"/>
          </a:xfrm>
        </p:spPr>
        <p:txBody>
          <a:bodyPr anchor="t"/>
          <a:lstStyle>
            <a:lvl1pPr algn="l">
              <a:lnSpc>
                <a:spcPts val="5800"/>
              </a:lnSpc>
              <a:defRPr sz="4400">
                <a:solidFill>
                  <a:schemeClr val="tx1"/>
                </a:solidFill>
              </a:defRPr>
            </a:lvl1pPr>
          </a:lstStyle>
          <a:p>
            <a:r>
              <a:rPr lang="en-GB"/>
              <a:t>Click to add title</a:t>
            </a:r>
          </a:p>
        </p:txBody>
      </p:sp>
    </p:spTree>
    <p:extLst>
      <p:ext uri="{BB962C8B-B14F-4D97-AF65-F5344CB8AC3E}">
        <p14:creationId xmlns:p14="http://schemas.microsoft.com/office/powerpoint/2010/main" val="23836955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E">
    <p:bg>
      <p:bgPr>
        <a:solidFill>
          <a:schemeClr val="accent1"/>
        </a:solidFill>
        <a:effectLst/>
      </p:bgPr>
    </p:bg>
    <p:spTree>
      <p:nvGrpSpPr>
        <p:cNvPr id="1" name=""/>
        <p:cNvGrpSpPr/>
        <p:nvPr/>
      </p:nvGrpSpPr>
      <p:grpSpPr>
        <a:xfrm>
          <a:off x="0" y="0"/>
          <a:ext cx="0" cy="0"/>
          <a:chOff x="0" y="0"/>
          <a:chExt cx="0" cy="0"/>
        </a:xfrm>
      </p:grpSpPr>
      <p:sp>
        <p:nvSpPr>
          <p:cNvPr id="21" name="Freeform 20">
            <a:extLst>
              <a:ext uri="{FF2B5EF4-FFF2-40B4-BE49-F238E27FC236}">
                <a16:creationId xmlns:a16="http://schemas.microsoft.com/office/drawing/2014/main" id="{23333BE9-BDFC-E99A-B635-C5AD934F45C8}"/>
              </a:ext>
            </a:extLst>
          </p:cNvPr>
          <p:cNvSpPr/>
          <p:nvPr userDrawn="1"/>
        </p:nvSpPr>
        <p:spPr>
          <a:xfrm>
            <a:off x="2854358" y="-3600"/>
            <a:ext cx="6426962" cy="6861600"/>
          </a:xfrm>
          <a:custGeom>
            <a:avLst/>
            <a:gdLst>
              <a:gd name="connsiteX0" fmla="*/ 0 w 6426962"/>
              <a:gd name="connsiteY0" fmla="*/ 0 h 6858000"/>
              <a:gd name="connsiteX1" fmla="*/ 4457700 w 6426962"/>
              <a:gd name="connsiteY1" fmla="*/ 0 h 6858000"/>
              <a:gd name="connsiteX2" fmla="*/ 4457700 w 6426962"/>
              <a:gd name="connsiteY2" fmla="*/ 0 h 6858000"/>
              <a:gd name="connsiteX3" fmla="*/ 6426962 w 6426962"/>
              <a:gd name="connsiteY3" fmla="*/ 0 h 6858000"/>
              <a:gd name="connsiteX4" fmla="*/ 6426962 w 6426962"/>
              <a:gd name="connsiteY4" fmla="*/ 4789046 h 6858000"/>
              <a:gd name="connsiteX5" fmla="*/ 6426962 w 6426962"/>
              <a:gd name="connsiteY5" fmla="*/ 4902200 h 6858000"/>
              <a:gd name="connsiteX6" fmla="*/ 6426962 w 6426962"/>
              <a:gd name="connsiteY6" fmla="*/ 6010018 h 6858000"/>
              <a:gd name="connsiteX7" fmla="*/ 5578980 w 6426962"/>
              <a:gd name="connsiteY7" fmla="*/ 6858000 h 6858000"/>
              <a:gd name="connsiteX8" fmla="*/ 4457700 w 6426962"/>
              <a:gd name="connsiteY8" fmla="*/ 6858000 h 6858000"/>
              <a:gd name="connsiteX9" fmla="*/ 4048382 w 6426962"/>
              <a:gd name="connsiteY9" fmla="*/ 6858000 h 6858000"/>
              <a:gd name="connsiteX10" fmla="*/ 0 w 6426962"/>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6962" h="6858000">
                <a:moveTo>
                  <a:pt x="0" y="0"/>
                </a:moveTo>
                <a:lnTo>
                  <a:pt x="4457700" y="0"/>
                </a:lnTo>
                <a:lnTo>
                  <a:pt x="4457700" y="0"/>
                </a:lnTo>
                <a:lnTo>
                  <a:pt x="6426962" y="0"/>
                </a:lnTo>
                <a:lnTo>
                  <a:pt x="6426962" y="4789046"/>
                </a:lnTo>
                <a:lnTo>
                  <a:pt x="6426962" y="4902200"/>
                </a:lnTo>
                <a:lnTo>
                  <a:pt x="6426962" y="6010018"/>
                </a:lnTo>
                <a:cubicBezTo>
                  <a:pt x="6426962" y="6478346"/>
                  <a:pt x="6047308" y="6858000"/>
                  <a:pt x="5578980" y="6858000"/>
                </a:cubicBezTo>
                <a:lnTo>
                  <a:pt x="4457700" y="6858000"/>
                </a:lnTo>
                <a:lnTo>
                  <a:pt x="404838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p>
        </p:txBody>
      </p:sp>
      <p:sp>
        <p:nvSpPr>
          <p:cNvPr id="35" name="Picture Placeholder 34">
            <a:extLst>
              <a:ext uri="{FF2B5EF4-FFF2-40B4-BE49-F238E27FC236}">
                <a16:creationId xmlns:a16="http://schemas.microsoft.com/office/drawing/2014/main" id="{89AC51BB-264A-1609-8951-4D9DDFC3BE77}"/>
              </a:ext>
            </a:extLst>
          </p:cNvPr>
          <p:cNvSpPr>
            <a:spLocks noGrp="1"/>
          </p:cNvSpPr>
          <p:nvPr>
            <p:ph type="pic" sz="quarter" idx="13" hasCustomPrompt="1"/>
          </p:nvPr>
        </p:nvSpPr>
        <p:spPr>
          <a:xfrm>
            <a:off x="0" y="-3600"/>
            <a:ext cx="8911685" cy="6861600"/>
          </a:xfrm>
          <a:custGeom>
            <a:avLst/>
            <a:gdLst>
              <a:gd name="connsiteX0" fmla="*/ 1657413 w 8911685"/>
              <a:gd name="connsiteY0" fmla="*/ 6230260 h 6861600"/>
              <a:gd name="connsiteX1" fmla="*/ 1747724 w 8911685"/>
              <a:gd name="connsiteY1" fmla="*/ 6230260 h 6861600"/>
              <a:gd name="connsiteX2" fmla="*/ 1747724 w 8911685"/>
              <a:gd name="connsiteY2" fmla="*/ 6278123 h 6861600"/>
              <a:gd name="connsiteX3" fmla="*/ 1657413 w 8911685"/>
              <a:gd name="connsiteY3" fmla="*/ 6278123 h 6861600"/>
              <a:gd name="connsiteX4" fmla="*/ 1280903 w 8911685"/>
              <a:gd name="connsiteY4" fmla="*/ 6228345 h 6861600"/>
              <a:gd name="connsiteX5" fmla="*/ 1312703 w 8911685"/>
              <a:gd name="connsiteY5" fmla="*/ 6306841 h 6861600"/>
              <a:gd name="connsiteX6" fmla="*/ 1249104 w 8911685"/>
              <a:gd name="connsiteY6" fmla="*/ 6306841 h 6861600"/>
              <a:gd name="connsiteX7" fmla="*/ 2035831 w 8911685"/>
              <a:gd name="connsiteY7" fmla="*/ 6194522 h 6861600"/>
              <a:gd name="connsiteX8" fmla="*/ 2035831 w 8911685"/>
              <a:gd name="connsiteY8" fmla="*/ 6377678 h 6861600"/>
              <a:gd name="connsiteX9" fmla="*/ 2079715 w 8911685"/>
              <a:gd name="connsiteY9" fmla="*/ 6377678 h 6861600"/>
              <a:gd name="connsiteX10" fmla="*/ 2079715 w 8911685"/>
              <a:gd name="connsiteY10" fmla="*/ 6293439 h 6861600"/>
              <a:gd name="connsiteX11" fmla="*/ 2162394 w 8911685"/>
              <a:gd name="connsiteY11" fmla="*/ 6377678 h 6861600"/>
              <a:gd name="connsiteX12" fmla="*/ 2222814 w 8911685"/>
              <a:gd name="connsiteY12" fmla="*/ 6377678 h 6861600"/>
              <a:gd name="connsiteX13" fmla="*/ 2122963 w 8911685"/>
              <a:gd name="connsiteY13" fmla="*/ 6280037 h 6861600"/>
              <a:gd name="connsiteX14" fmla="*/ 2218998 w 8911685"/>
              <a:gd name="connsiteY14" fmla="*/ 6194522 h 6861600"/>
              <a:gd name="connsiteX15" fmla="*/ 2160486 w 8911685"/>
              <a:gd name="connsiteY15" fmla="*/ 6194522 h 6861600"/>
              <a:gd name="connsiteX16" fmla="*/ 2079715 w 8911685"/>
              <a:gd name="connsiteY16" fmla="*/ 6268550 h 6861600"/>
              <a:gd name="connsiteX17" fmla="*/ 2079715 w 8911685"/>
              <a:gd name="connsiteY17" fmla="*/ 6194522 h 6861600"/>
              <a:gd name="connsiteX18" fmla="*/ 1614165 w 8911685"/>
              <a:gd name="connsiteY18" fmla="*/ 6194522 h 6861600"/>
              <a:gd name="connsiteX19" fmla="*/ 1614165 w 8911685"/>
              <a:gd name="connsiteY19" fmla="*/ 6377678 h 6861600"/>
              <a:gd name="connsiteX20" fmla="*/ 1657413 w 8911685"/>
              <a:gd name="connsiteY20" fmla="*/ 6377678 h 6861600"/>
              <a:gd name="connsiteX21" fmla="*/ 1657413 w 8911685"/>
              <a:gd name="connsiteY21" fmla="*/ 6314499 h 6861600"/>
              <a:gd name="connsiteX22" fmla="*/ 1704477 w 8911685"/>
              <a:gd name="connsiteY22" fmla="*/ 6314499 h 6861600"/>
              <a:gd name="connsiteX23" fmla="*/ 1743908 w 8911685"/>
              <a:gd name="connsiteY23" fmla="*/ 6377678 h 6861600"/>
              <a:gd name="connsiteX24" fmla="*/ 1790972 w 8911685"/>
              <a:gd name="connsiteY24" fmla="*/ 6377678 h 6861600"/>
              <a:gd name="connsiteX25" fmla="*/ 1749632 w 8911685"/>
              <a:gd name="connsiteY25" fmla="*/ 6314499 h 6861600"/>
              <a:gd name="connsiteX26" fmla="*/ 1753448 w 8911685"/>
              <a:gd name="connsiteY26" fmla="*/ 6314499 h 6861600"/>
              <a:gd name="connsiteX27" fmla="*/ 1789064 w 8911685"/>
              <a:gd name="connsiteY27" fmla="*/ 6285781 h 6861600"/>
              <a:gd name="connsiteX28" fmla="*/ 1789064 w 8911685"/>
              <a:gd name="connsiteY28" fmla="*/ 6225154 h 6861600"/>
              <a:gd name="connsiteX29" fmla="*/ 1759172 w 8911685"/>
              <a:gd name="connsiteY29" fmla="*/ 6194522 h 6861600"/>
              <a:gd name="connsiteX30" fmla="*/ 1408738 w 8911685"/>
              <a:gd name="connsiteY30" fmla="*/ 6194522 h 6861600"/>
              <a:gd name="connsiteX31" fmla="*/ 1408738 w 8911685"/>
              <a:gd name="connsiteY31" fmla="*/ 6377678 h 6861600"/>
              <a:gd name="connsiteX32" fmla="*/ 1582365 w 8911685"/>
              <a:gd name="connsiteY32" fmla="*/ 6377678 h 6861600"/>
              <a:gd name="connsiteX33" fmla="*/ 1582365 w 8911685"/>
              <a:gd name="connsiteY33" fmla="*/ 6341302 h 6861600"/>
              <a:gd name="connsiteX34" fmla="*/ 1450078 w 8911685"/>
              <a:gd name="connsiteY34" fmla="*/ 6341302 h 6861600"/>
              <a:gd name="connsiteX35" fmla="*/ 1450078 w 8911685"/>
              <a:gd name="connsiteY35" fmla="*/ 6303012 h 6861600"/>
              <a:gd name="connsiteX36" fmla="*/ 1563285 w 8911685"/>
              <a:gd name="connsiteY36" fmla="*/ 6303012 h 6861600"/>
              <a:gd name="connsiteX37" fmla="*/ 1563285 w 8911685"/>
              <a:gd name="connsiteY37" fmla="*/ 6266636 h 6861600"/>
              <a:gd name="connsiteX38" fmla="*/ 1450078 w 8911685"/>
              <a:gd name="connsiteY38" fmla="*/ 6266636 h 6861600"/>
              <a:gd name="connsiteX39" fmla="*/ 1450078 w 8911685"/>
              <a:gd name="connsiteY39" fmla="*/ 6230260 h 6861600"/>
              <a:gd name="connsiteX40" fmla="*/ 1580457 w 8911685"/>
              <a:gd name="connsiteY40" fmla="*/ 6230260 h 6861600"/>
              <a:gd name="connsiteX41" fmla="*/ 1580457 w 8911685"/>
              <a:gd name="connsiteY41" fmla="*/ 6194522 h 6861600"/>
              <a:gd name="connsiteX42" fmla="*/ 1252284 w 8911685"/>
              <a:gd name="connsiteY42" fmla="*/ 6194522 h 6861600"/>
              <a:gd name="connsiteX43" fmla="*/ 1171512 w 8911685"/>
              <a:gd name="connsiteY43" fmla="*/ 6377678 h 6861600"/>
              <a:gd name="connsiteX44" fmla="*/ 1218576 w 8911685"/>
              <a:gd name="connsiteY44" fmla="*/ 6377678 h 6861600"/>
              <a:gd name="connsiteX45" fmla="*/ 1233840 w 8911685"/>
              <a:gd name="connsiteY45" fmla="*/ 6341302 h 6861600"/>
              <a:gd name="connsiteX46" fmla="*/ 1327967 w 8911685"/>
              <a:gd name="connsiteY46" fmla="*/ 6341302 h 6861600"/>
              <a:gd name="connsiteX47" fmla="*/ 1345139 w 8911685"/>
              <a:gd name="connsiteY47" fmla="*/ 6377678 h 6861600"/>
              <a:gd name="connsiteX48" fmla="*/ 1390295 w 8911685"/>
              <a:gd name="connsiteY48" fmla="*/ 6377678 h 6861600"/>
              <a:gd name="connsiteX49" fmla="*/ 1308887 w 8911685"/>
              <a:gd name="connsiteY49" fmla="*/ 6194522 h 6861600"/>
              <a:gd name="connsiteX50" fmla="*/ 940009 w 8911685"/>
              <a:gd name="connsiteY50" fmla="*/ 6194522 h 6861600"/>
              <a:gd name="connsiteX51" fmla="*/ 940009 w 8911685"/>
              <a:gd name="connsiteY51" fmla="*/ 6377678 h 6861600"/>
              <a:gd name="connsiteX52" fmla="*/ 979441 w 8911685"/>
              <a:gd name="connsiteY52" fmla="*/ 6377678 h 6861600"/>
              <a:gd name="connsiteX53" fmla="*/ 979441 w 8911685"/>
              <a:gd name="connsiteY53" fmla="*/ 6272379 h 6861600"/>
              <a:gd name="connsiteX54" fmla="*/ 1026505 w 8911685"/>
              <a:gd name="connsiteY54" fmla="*/ 6377678 h 6861600"/>
              <a:gd name="connsiteX55" fmla="*/ 1067844 w 8911685"/>
              <a:gd name="connsiteY55" fmla="*/ 6377678 h 6861600"/>
              <a:gd name="connsiteX56" fmla="*/ 1114908 w 8911685"/>
              <a:gd name="connsiteY56" fmla="*/ 6270465 h 6861600"/>
              <a:gd name="connsiteX57" fmla="*/ 1114908 w 8911685"/>
              <a:gd name="connsiteY57" fmla="*/ 6377678 h 6861600"/>
              <a:gd name="connsiteX58" fmla="*/ 1154340 w 8911685"/>
              <a:gd name="connsiteY58" fmla="*/ 6377678 h 6861600"/>
              <a:gd name="connsiteX59" fmla="*/ 1154340 w 8911685"/>
              <a:gd name="connsiteY59" fmla="*/ 6194522 h 6861600"/>
              <a:gd name="connsiteX60" fmla="*/ 1107276 w 8911685"/>
              <a:gd name="connsiteY60" fmla="*/ 6194522 h 6861600"/>
              <a:gd name="connsiteX61" fmla="*/ 1046857 w 8911685"/>
              <a:gd name="connsiteY61" fmla="*/ 6331730 h 6861600"/>
              <a:gd name="connsiteX62" fmla="*/ 987073 w 8911685"/>
              <a:gd name="connsiteY62" fmla="*/ 6194522 h 6861600"/>
              <a:gd name="connsiteX63" fmla="*/ 1853300 w 8911685"/>
              <a:gd name="connsiteY63" fmla="*/ 6193884 h 6861600"/>
              <a:gd name="connsiteX64" fmla="*/ 1825316 w 8911685"/>
              <a:gd name="connsiteY64" fmla="*/ 6222602 h 6861600"/>
              <a:gd name="connsiteX65" fmla="*/ 1825316 w 8911685"/>
              <a:gd name="connsiteY65" fmla="*/ 6276209 h 6861600"/>
              <a:gd name="connsiteX66" fmla="*/ 1853300 w 8911685"/>
              <a:gd name="connsiteY66" fmla="*/ 6303012 h 6861600"/>
              <a:gd name="connsiteX67" fmla="*/ 1955059 w 8911685"/>
              <a:gd name="connsiteY67" fmla="*/ 6303012 h 6861600"/>
              <a:gd name="connsiteX68" fmla="*/ 1955059 w 8911685"/>
              <a:gd name="connsiteY68" fmla="*/ 6341302 h 6861600"/>
              <a:gd name="connsiteX69" fmla="*/ 1866656 w 8911685"/>
              <a:gd name="connsiteY69" fmla="*/ 6341302 h 6861600"/>
              <a:gd name="connsiteX70" fmla="*/ 1866656 w 8911685"/>
              <a:gd name="connsiteY70" fmla="*/ 6327901 h 6861600"/>
              <a:gd name="connsiteX71" fmla="*/ 1823408 w 8911685"/>
              <a:gd name="connsiteY71" fmla="*/ 6327901 h 6861600"/>
              <a:gd name="connsiteX72" fmla="*/ 1823408 w 8911685"/>
              <a:gd name="connsiteY72" fmla="*/ 6350875 h 6861600"/>
              <a:gd name="connsiteX73" fmla="*/ 1851392 w 8911685"/>
              <a:gd name="connsiteY73" fmla="*/ 6377678 h 6861600"/>
              <a:gd name="connsiteX74" fmla="*/ 1866656 w 8911685"/>
              <a:gd name="connsiteY74" fmla="*/ 6377678 h 6861600"/>
              <a:gd name="connsiteX75" fmla="*/ 1968415 w 8911685"/>
              <a:gd name="connsiteY75" fmla="*/ 6377678 h 6861600"/>
              <a:gd name="connsiteX76" fmla="*/ 1996399 w 8911685"/>
              <a:gd name="connsiteY76" fmla="*/ 6348961 h 6861600"/>
              <a:gd name="connsiteX77" fmla="*/ 1996399 w 8911685"/>
              <a:gd name="connsiteY77" fmla="*/ 6297268 h 6861600"/>
              <a:gd name="connsiteX78" fmla="*/ 1968415 w 8911685"/>
              <a:gd name="connsiteY78" fmla="*/ 6266636 h 6861600"/>
              <a:gd name="connsiteX79" fmla="*/ 1866656 w 8911685"/>
              <a:gd name="connsiteY79" fmla="*/ 6266636 h 6861600"/>
              <a:gd name="connsiteX80" fmla="*/ 1866656 w 8911685"/>
              <a:gd name="connsiteY80" fmla="*/ 6230260 h 6861600"/>
              <a:gd name="connsiteX81" fmla="*/ 1955059 w 8911685"/>
              <a:gd name="connsiteY81" fmla="*/ 6230260 h 6861600"/>
              <a:gd name="connsiteX82" fmla="*/ 1955059 w 8911685"/>
              <a:gd name="connsiteY82" fmla="*/ 6245576 h 6861600"/>
              <a:gd name="connsiteX83" fmla="*/ 1996399 w 8911685"/>
              <a:gd name="connsiteY83" fmla="*/ 6245576 h 6861600"/>
              <a:gd name="connsiteX84" fmla="*/ 1996399 w 8911685"/>
              <a:gd name="connsiteY84" fmla="*/ 6224516 h 6861600"/>
              <a:gd name="connsiteX85" fmla="*/ 1970323 w 8911685"/>
              <a:gd name="connsiteY85" fmla="*/ 6193884 h 6861600"/>
              <a:gd name="connsiteX86" fmla="*/ 423579 w 8911685"/>
              <a:gd name="connsiteY86" fmla="*/ 6077736 h 6861600"/>
              <a:gd name="connsiteX87" fmla="*/ 378423 w 8911685"/>
              <a:gd name="connsiteY87" fmla="*/ 6125599 h 6861600"/>
              <a:gd name="connsiteX88" fmla="*/ 378423 w 8911685"/>
              <a:gd name="connsiteY88" fmla="*/ 6446601 h 6861600"/>
              <a:gd name="connsiteX89" fmla="*/ 423579 w 8911685"/>
              <a:gd name="connsiteY89" fmla="*/ 6494464 h 6861600"/>
              <a:gd name="connsiteX90" fmla="*/ 719317 w 8911685"/>
              <a:gd name="connsiteY90" fmla="*/ 6494464 h 6861600"/>
              <a:gd name="connsiteX91" fmla="*/ 766381 w 8911685"/>
              <a:gd name="connsiteY91" fmla="*/ 6446601 h 6861600"/>
              <a:gd name="connsiteX92" fmla="*/ 766381 w 8911685"/>
              <a:gd name="connsiteY92" fmla="*/ 6125599 h 6861600"/>
              <a:gd name="connsiteX93" fmla="*/ 719317 w 8911685"/>
              <a:gd name="connsiteY93" fmla="*/ 6077736 h 6861600"/>
              <a:gd name="connsiteX94" fmla="*/ 0 w 8911685"/>
              <a:gd name="connsiteY94" fmla="*/ 0 h 6861600"/>
              <a:gd name="connsiteX95" fmla="*/ 8911685 w 8911685"/>
              <a:gd name="connsiteY95" fmla="*/ 3551 h 6861600"/>
              <a:gd name="connsiteX96" fmla="*/ 8911685 w 8911685"/>
              <a:gd name="connsiteY96" fmla="*/ 6021290 h 6861600"/>
              <a:gd name="connsiteX97" fmla="*/ 8157291 w 8911685"/>
              <a:gd name="connsiteY97" fmla="*/ 6857262 h 6861600"/>
              <a:gd name="connsiteX98" fmla="*/ 8071384 w 8911685"/>
              <a:gd name="connsiteY98" fmla="*/ 6861600 h 6861600"/>
              <a:gd name="connsiteX99" fmla="*/ 0 w 8911685"/>
              <a:gd name="connsiteY99"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8911685" h="6861600">
                <a:moveTo>
                  <a:pt x="1657413" y="6230260"/>
                </a:moveTo>
                <a:lnTo>
                  <a:pt x="1747724" y="6230260"/>
                </a:lnTo>
                <a:lnTo>
                  <a:pt x="1747724" y="6278123"/>
                </a:lnTo>
                <a:lnTo>
                  <a:pt x="1657413" y="6278123"/>
                </a:lnTo>
                <a:close/>
                <a:moveTo>
                  <a:pt x="1280903" y="6228345"/>
                </a:moveTo>
                <a:lnTo>
                  <a:pt x="1312703" y="6306841"/>
                </a:lnTo>
                <a:lnTo>
                  <a:pt x="1249104" y="6306841"/>
                </a:lnTo>
                <a:close/>
                <a:moveTo>
                  <a:pt x="2035831" y="6194522"/>
                </a:moveTo>
                <a:lnTo>
                  <a:pt x="2035831" y="6377678"/>
                </a:lnTo>
                <a:lnTo>
                  <a:pt x="2079715" y="6377678"/>
                </a:lnTo>
                <a:lnTo>
                  <a:pt x="2079715" y="6293439"/>
                </a:lnTo>
                <a:lnTo>
                  <a:pt x="2162394" y="6377678"/>
                </a:lnTo>
                <a:lnTo>
                  <a:pt x="2222814" y="6377678"/>
                </a:lnTo>
                <a:lnTo>
                  <a:pt x="2122963" y="6280037"/>
                </a:lnTo>
                <a:lnTo>
                  <a:pt x="2218998" y="6194522"/>
                </a:lnTo>
                <a:lnTo>
                  <a:pt x="2160486" y="6194522"/>
                </a:lnTo>
                <a:lnTo>
                  <a:pt x="2079715" y="6268550"/>
                </a:lnTo>
                <a:lnTo>
                  <a:pt x="2079715" y="6194522"/>
                </a:lnTo>
                <a:close/>
                <a:moveTo>
                  <a:pt x="1614165" y="6194522"/>
                </a:moveTo>
                <a:lnTo>
                  <a:pt x="1614165" y="6377678"/>
                </a:lnTo>
                <a:lnTo>
                  <a:pt x="1657413" y="6377678"/>
                </a:lnTo>
                <a:lnTo>
                  <a:pt x="1657413" y="6314499"/>
                </a:lnTo>
                <a:lnTo>
                  <a:pt x="1704477" y="6314499"/>
                </a:lnTo>
                <a:lnTo>
                  <a:pt x="1743908" y="6377678"/>
                </a:lnTo>
                <a:lnTo>
                  <a:pt x="1790972" y="6377678"/>
                </a:lnTo>
                <a:lnTo>
                  <a:pt x="1749632" y="6314499"/>
                </a:lnTo>
                <a:lnTo>
                  <a:pt x="1753448" y="6314499"/>
                </a:lnTo>
                <a:cubicBezTo>
                  <a:pt x="1777616" y="6314499"/>
                  <a:pt x="1789064" y="6301097"/>
                  <a:pt x="1789064" y="6285781"/>
                </a:cubicBezTo>
                <a:lnTo>
                  <a:pt x="1789064" y="6225154"/>
                </a:lnTo>
                <a:cubicBezTo>
                  <a:pt x="1789064" y="6206009"/>
                  <a:pt x="1777616" y="6194522"/>
                  <a:pt x="1759172" y="6194522"/>
                </a:cubicBezTo>
                <a:close/>
                <a:moveTo>
                  <a:pt x="1408738" y="6194522"/>
                </a:moveTo>
                <a:lnTo>
                  <a:pt x="1408738" y="6377678"/>
                </a:lnTo>
                <a:lnTo>
                  <a:pt x="1582365" y="6377678"/>
                </a:lnTo>
                <a:lnTo>
                  <a:pt x="1582365" y="6341302"/>
                </a:lnTo>
                <a:lnTo>
                  <a:pt x="1450078" y="6341302"/>
                </a:lnTo>
                <a:lnTo>
                  <a:pt x="1450078" y="6303012"/>
                </a:lnTo>
                <a:lnTo>
                  <a:pt x="1563285" y="6303012"/>
                </a:lnTo>
                <a:lnTo>
                  <a:pt x="1563285" y="6266636"/>
                </a:lnTo>
                <a:lnTo>
                  <a:pt x="1450078" y="6266636"/>
                </a:lnTo>
                <a:lnTo>
                  <a:pt x="1450078" y="6230260"/>
                </a:lnTo>
                <a:lnTo>
                  <a:pt x="1580457" y="6230260"/>
                </a:lnTo>
                <a:lnTo>
                  <a:pt x="1580457" y="6194522"/>
                </a:lnTo>
                <a:close/>
                <a:moveTo>
                  <a:pt x="1252284" y="6194522"/>
                </a:moveTo>
                <a:lnTo>
                  <a:pt x="1171512" y="6377678"/>
                </a:lnTo>
                <a:lnTo>
                  <a:pt x="1218576" y="6377678"/>
                </a:lnTo>
                <a:lnTo>
                  <a:pt x="1233840" y="6341302"/>
                </a:lnTo>
                <a:lnTo>
                  <a:pt x="1327967" y="6341302"/>
                </a:lnTo>
                <a:lnTo>
                  <a:pt x="1345139" y="6377678"/>
                </a:lnTo>
                <a:lnTo>
                  <a:pt x="1390295" y="6377678"/>
                </a:lnTo>
                <a:lnTo>
                  <a:pt x="1308887" y="6194522"/>
                </a:lnTo>
                <a:close/>
                <a:moveTo>
                  <a:pt x="940009" y="6194522"/>
                </a:moveTo>
                <a:lnTo>
                  <a:pt x="940009" y="6377678"/>
                </a:lnTo>
                <a:lnTo>
                  <a:pt x="979441" y="6377678"/>
                </a:lnTo>
                <a:lnTo>
                  <a:pt x="979441" y="6272379"/>
                </a:lnTo>
                <a:lnTo>
                  <a:pt x="1026505" y="6377678"/>
                </a:lnTo>
                <a:lnTo>
                  <a:pt x="1067844" y="6377678"/>
                </a:lnTo>
                <a:lnTo>
                  <a:pt x="1114908" y="6270465"/>
                </a:lnTo>
                <a:lnTo>
                  <a:pt x="1114908" y="6377678"/>
                </a:lnTo>
                <a:lnTo>
                  <a:pt x="1154340" y="6377678"/>
                </a:lnTo>
                <a:lnTo>
                  <a:pt x="1154340" y="6194522"/>
                </a:lnTo>
                <a:lnTo>
                  <a:pt x="1107276" y="6194522"/>
                </a:lnTo>
                <a:lnTo>
                  <a:pt x="1046857" y="6331730"/>
                </a:lnTo>
                <a:lnTo>
                  <a:pt x="987073" y="6194522"/>
                </a:lnTo>
                <a:close/>
                <a:moveTo>
                  <a:pt x="1853300" y="6193884"/>
                </a:moveTo>
                <a:cubicBezTo>
                  <a:pt x="1838672" y="6193884"/>
                  <a:pt x="1825316" y="6205371"/>
                  <a:pt x="1825316" y="6222602"/>
                </a:cubicBezTo>
                <a:lnTo>
                  <a:pt x="1825316" y="6276209"/>
                </a:lnTo>
                <a:cubicBezTo>
                  <a:pt x="1825316" y="6291525"/>
                  <a:pt x="1836128" y="6303012"/>
                  <a:pt x="1853300" y="6303012"/>
                </a:cubicBezTo>
                <a:lnTo>
                  <a:pt x="1955059" y="6303012"/>
                </a:lnTo>
                <a:lnTo>
                  <a:pt x="1955059" y="6341302"/>
                </a:lnTo>
                <a:lnTo>
                  <a:pt x="1866656" y="6341302"/>
                </a:lnTo>
                <a:lnTo>
                  <a:pt x="1866656" y="6327901"/>
                </a:lnTo>
                <a:lnTo>
                  <a:pt x="1823408" y="6327901"/>
                </a:lnTo>
                <a:lnTo>
                  <a:pt x="1823408" y="6350875"/>
                </a:lnTo>
                <a:cubicBezTo>
                  <a:pt x="1823408" y="6366191"/>
                  <a:pt x="1832312" y="6377678"/>
                  <a:pt x="1851392" y="6377678"/>
                </a:cubicBezTo>
                <a:lnTo>
                  <a:pt x="1866656" y="6377678"/>
                </a:lnTo>
                <a:lnTo>
                  <a:pt x="1968415" y="6377678"/>
                </a:lnTo>
                <a:cubicBezTo>
                  <a:pt x="1986859" y="6377678"/>
                  <a:pt x="1996399" y="6366191"/>
                  <a:pt x="1996399" y="6348961"/>
                </a:cubicBezTo>
                <a:lnTo>
                  <a:pt x="1996399" y="6297268"/>
                </a:lnTo>
                <a:cubicBezTo>
                  <a:pt x="1996399" y="6278123"/>
                  <a:pt x="1983679" y="6266636"/>
                  <a:pt x="1968415" y="6266636"/>
                </a:cubicBezTo>
                <a:lnTo>
                  <a:pt x="1866656" y="6266636"/>
                </a:lnTo>
                <a:lnTo>
                  <a:pt x="1866656" y="6230260"/>
                </a:lnTo>
                <a:lnTo>
                  <a:pt x="1955059" y="6230260"/>
                </a:lnTo>
                <a:lnTo>
                  <a:pt x="1955059" y="6245576"/>
                </a:lnTo>
                <a:lnTo>
                  <a:pt x="1996399" y="6245576"/>
                </a:lnTo>
                <a:lnTo>
                  <a:pt x="1996399" y="6224516"/>
                </a:lnTo>
                <a:cubicBezTo>
                  <a:pt x="1996399" y="6205371"/>
                  <a:pt x="1985587" y="6193884"/>
                  <a:pt x="1970323" y="6193884"/>
                </a:cubicBezTo>
                <a:close/>
                <a:moveTo>
                  <a:pt x="423579" y="6077736"/>
                </a:moveTo>
                <a:cubicBezTo>
                  <a:pt x="399411" y="6077736"/>
                  <a:pt x="378423" y="6098796"/>
                  <a:pt x="378423" y="6125599"/>
                </a:cubicBezTo>
                <a:lnTo>
                  <a:pt x="378423" y="6446601"/>
                </a:lnTo>
                <a:cubicBezTo>
                  <a:pt x="378423" y="6473405"/>
                  <a:pt x="399411" y="6494464"/>
                  <a:pt x="423579" y="6494464"/>
                </a:cubicBezTo>
                <a:lnTo>
                  <a:pt x="719317" y="6494464"/>
                </a:lnTo>
                <a:cubicBezTo>
                  <a:pt x="745393" y="6494464"/>
                  <a:pt x="766381" y="6473405"/>
                  <a:pt x="766381" y="6446601"/>
                </a:cubicBezTo>
                <a:lnTo>
                  <a:pt x="766381" y="6125599"/>
                </a:lnTo>
                <a:cubicBezTo>
                  <a:pt x="766381" y="6098796"/>
                  <a:pt x="745393" y="6077736"/>
                  <a:pt x="719317" y="6077736"/>
                </a:cubicBezTo>
                <a:close/>
                <a:moveTo>
                  <a:pt x="0" y="0"/>
                </a:moveTo>
                <a:lnTo>
                  <a:pt x="8911685" y="3551"/>
                </a:lnTo>
                <a:lnTo>
                  <a:pt x="8911685" y="6021290"/>
                </a:lnTo>
                <a:cubicBezTo>
                  <a:pt x="8911685" y="6456375"/>
                  <a:pt x="8581023" y="6814230"/>
                  <a:pt x="8157291" y="6857262"/>
                </a:cubicBezTo>
                <a:lnTo>
                  <a:pt x="8071384"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26" name="Title 1">
            <a:extLst>
              <a:ext uri="{FF2B5EF4-FFF2-40B4-BE49-F238E27FC236}">
                <a16:creationId xmlns:a16="http://schemas.microsoft.com/office/drawing/2014/main" id="{59257972-5121-7C61-D1A1-B1409EF2A531}"/>
              </a:ext>
            </a:extLst>
          </p:cNvPr>
          <p:cNvSpPr>
            <a:spLocks noGrp="1"/>
          </p:cNvSpPr>
          <p:nvPr>
            <p:ph type="ctrTitle" hasCustomPrompt="1"/>
          </p:nvPr>
        </p:nvSpPr>
        <p:spPr>
          <a:xfrm>
            <a:off x="371475" y="4267733"/>
            <a:ext cx="7962297" cy="1634060"/>
          </a:xfrm>
        </p:spPr>
        <p:txBody>
          <a:bodyPr anchor="t"/>
          <a:lstStyle>
            <a:lvl1pPr algn="l">
              <a:lnSpc>
                <a:spcPts val="5800"/>
              </a:lnSpc>
              <a:defRPr sz="4400">
                <a:solidFill>
                  <a:schemeClr val="bg1"/>
                </a:solidFill>
              </a:defRPr>
            </a:lvl1pPr>
          </a:lstStyle>
          <a:p>
            <a:r>
              <a:rPr lang="en-GB"/>
              <a:t>Click to add title</a:t>
            </a:r>
          </a:p>
        </p:txBody>
      </p:sp>
      <p:pic>
        <p:nvPicPr>
          <p:cNvPr id="42" name="Graphic 41">
            <a:extLst>
              <a:ext uri="{FF2B5EF4-FFF2-40B4-BE49-F238E27FC236}">
                <a16:creationId xmlns:a16="http://schemas.microsoft.com/office/drawing/2014/main" id="{49281D49-4670-0E53-673C-C91C58475B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8775" y="6055614"/>
            <a:ext cx="1863471" cy="459486"/>
          </a:xfrm>
          <a:prstGeom prst="rect">
            <a:avLst/>
          </a:prstGeom>
        </p:spPr>
      </p:pic>
    </p:spTree>
    <p:extLst>
      <p:ext uri="{BB962C8B-B14F-4D97-AF65-F5344CB8AC3E}">
        <p14:creationId xmlns:p14="http://schemas.microsoft.com/office/powerpoint/2010/main" val="28006831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solidFill>
                  <a:schemeClr val="tx1"/>
                </a:solidFill>
              </a:defRPr>
            </a:lvl1pPr>
          </a:lstStyle>
          <a:p>
            <a:r>
              <a:rPr lang="en-GB" noProof="0"/>
              <a:t>Click to add agenda/contents</a:t>
            </a:r>
          </a:p>
        </p:txBody>
      </p:sp>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a:p>
        </p:txBody>
      </p:sp>
      <p:pic>
        <p:nvPicPr>
          <p:cNvPr id="26" name="Picture 29">
            <a:extLst>
              <a:ext uri="{FF2B5EF4-FFF2-40B4-BE49-F238E27FC236}">
                <a16:creationId xmlns:a16="http://schemas.microsoft.com/office/drawing/2014/main" id="{E0E5EB5F-27F8-4A17-1762-2E1E397DFB1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9" name="Text Placeholder 2">
            <a:extLst>
              <a:ext uri="{FF2B5EF4-FFF2-40B4-BE49-F238E27FC236}">
                <a16:creationId xmlns:a16="http://schemas.microsoft.com/office/drawing/2014/main" id="{055BEE36-017E-7BDE-BD39-87903F71E154}"/>
              </a:ext>
            </a:extLst>
          </p:cNvPr>
          <p:cNvSpPr>
            <a:spLocks noGrp="1"/>
          </p:cNvSpPr>
          <p:nvPr>
            <p:ph type="body" sz="quarter" idx="35" hasCustomPrompt="1"/>
          </p:nvPr>
        </p:nvSpPr>
        <p:spPr>
          <a:xfrm>
            <a:off x="377824" y="1943101"/>
            <a:ext cx="954087" cy="3693600"/>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9pPr>
          </a:lstStyle>
          <a:p>
            <a:pPr lvl="0"/>
            <a:r>
              <a:rPr lang="en-GB" noProof="0"/>
              <a:t>1.00</a:t>
            </a:r>
          </a:p>
        </p:txBody>
      </p:sp>
      <p:sp>
        <p:nvSpPr>
          <p:cNvPr id="15" name="Text Placeholder 2">
            <a:extLst>
              <a:ext uri="{FF2B5EF4-FFF2-40B4-BE49-F238E27FC236}">
                <a16:creationId xmlns:a16="http://schemas.microsoft.com/office/drawing/2014/main" id="{E62749B4-1839-B9E3-3446-079F16D76BDF}"/>
              </a:ext>
            </a:extLst>
          </p:cNvPr>
          <p:cNvSpPr>
            <a:spLocks noGrp="1"/>
          </p:cNvSpPr>
          <p:nvPr>
            <p:ph type="body" sz="quarter" idx="17" hasCustomPrompt="1"/>
          </p:nvPr>
        </p:nvSpPr>
        <p:spPr>
          <a:xfrm>
            <a:off x="1343025" y="1943101"/>
            <a:ext cx="4645025" cy="3693600"/>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tx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tx1"/>
                </a:solidFill>
              </a:defRPr>
            </a:lvl9pPr>
          </a:lstStyle>
          <a:p>
            <a:pPr lvl="0"/>
            <a:r>
              <a:rPr lang="en-GB" noProof="0"/>
              <a:t>Click to add text</a:t>
            </a:r>
          </a:p>
        </p:txBody>
      </p:sp>
    </p:spTree>
    <p:extLst>
      <p:ext uri="{BB962C8B-B14F-4D97-AF65-F5344CB8AC3E}">
        <p14:creationId xmlns:p14="http://schemas.microsoft.com/office/powerpoint/2010/main" val="11180149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solidFill>
                  <a:schemeClr val="tx1"/>
                </a:solidFill>
              </a:defRPr>
            </a:lvl1pPr>
          </a:lstStyle>
          <a:p>
            <a:r>
              <a:rPr lang="en-GB" noProof="0" dirty="0"/>
              <a:t>Click to add agenda/contents</a:t>
            </a:r>
          </a:p>
        </p:txBody>
      </p:sp>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dirty="0"/>
          </a:p>
        </p:txBody>
      </p:sp>
      <p:pic>
        <p:nvPicPr>
          <p:cNvPr id="26" name="Picture 29">
            <a:extLst>
              <a:ext uri="{FF2B5EF4-FFF2-40B4-BE49-F238E27FC236}">
                <a16:creationId xmlns:a16="http://schemas.microsoft.com/office/drawing/2014/main" id="{E0E5EB5F-27F8-4A17-1762-2E1E397DFB1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9" name="Text Placeholder 2">
            <a:extLst>
              <a:ext uri="{FF2B5EF4-FFF2-40B4-BE49-F238E27FC236}">
                <a16:creationId xmlns:a16="http://schemas.microsoft.com/office/drawing/2014/main" id="{055BEE36-017E-7BDE-BD39-87903F71E154}"/>
              </a:ext>
            </a:extLst>
          </p:cNvPr>
          <p:cNvSpPr>
            <a:spLocks noGrp="1"/>
          </p:cNvSpPr>
          <p:nvPr>
            <p:ph type="body" sz="quarter" idx="35" hasCustomPrompt="1"/>
          </p:nvPr>
        </p:nvSpPr>
        <p:spPr>
          <a:xfrm>
            <a:off x="377824" y="1943101"/>
            <a:ext cx="954087" cy="3693600"/>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9pPr>
          </a:lstStyle>
          <a:p>
            <a:pPr lvl="0"/>
            <a:r>
              <a:rPr lang="en-GB" noProof="0" dirty="0"/>
              <a:t>1.00</a:t>
            </a:r>
          </a:p>
        </p:txBody>
      </p:sp>
      <p:sp>
        <p:nvSpPr>
          <p:cNvPr id="15" name="Text Placeholder 2">
            <a:extLst>
              <a:ext uri="{FF2B5EF4-FFF2-40B4-BE49-F238E27FC236}">
                <a16:creationId xmlns:a16="http://schemas.microsoft.com/office/drawing/2014/main" id="{E62749B4-1839-B9E3-3446-079F16D76BDF}"/>
              </a:ext>
            </a:extLst>
          </p:cNvPr>
          <p:cNvSpPr>
            <a:spLocks noGrp="1"/>
          </p:cNvSpPr>
          <p:nvPr>
            <p:ph type="body" sz="quarter" idx="17" hasCustomPrompt="1"/>
          </p:nvPr>
        </p:nvSpPr>
        <p:spPr>
          <a:xfrm>
            <a:off x="1343025" y="1943101"/>
            <a:ext cx="4645025" cy="3693600"/>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tx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tx1"/>
                </a:solidFill>
              </a:defRPr>
            </a:lvl9pPr>
          </a:lstStyle>
          <a:p>
            <a:pPr lvl="0"/>
            <a:r>
              <a:rPr lang="en-GB" noProof="0" dirty="0"/>
              <a:t>Click to add text</a:t>
            </a:r>
          </a:p>
        </p:txBody>
      </p:sp>
    </p:spTree>
    <p:extLst>
      <p:ext uri="{BB962C8B-B14F-4D97-AF65-F5344CB8AC3E}">
        <p14:creationId xmlns:p14="http://schemas.microsoft.com/office/powerpoint/2010/main" val="5824025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picture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7561263"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371475" y="1943100"/>
            <a:ext cx="7561263"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48638" y="368300"/>
            <a:ext cx="3671887"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pic>
        <p:nvPicPr>
          <p:cNvPr id="9" name="Picture 29">
            <a:extLst>
              <a:ext uri="{FF2B5EF4-FFF2-40B4-BE49-F238E27FC236}">
                <a16:creationId xmlns:a16="http://schemas.microsoft.com/office/drawing/2014/main" id="{C3CF8F27-F55A-7C7D-746F-7A4B4EEC858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9956030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pictur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noProof="0"/>
              <a:t>Click to add title</a:t>
            </a:r>
          </a:p>
        </p:txBody>
      </p:sp>
      <p:sp>
        <p:nvSpPr>
          <p:cNvPr id="7" name="Content Placeholder 2"/>
          <p:cNvSpPr>
            <a:spLocks noGrp="1"/>
          </p:cNvSpPr>
          <p:nvPr>
            <p:ph sz="quarter" idx="13" hasCustomPrompt="1"/>
          </p:nvPr>
        </p:nvSpPr>
        <p:spPr>
          <a:xfrm>
            <a:off x="371475" y="1943100"/>
            <a:ext cx="6588125" cy="3694113"/>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3"/>
          <p:cNvSpPr>
            <a:spLocks noGrp="1"/>
          </p:cNvSpPr>
          <p:nvPr>
            <p:ph type="pic" sz="quarter" idx="14" hasCustomPrompt="1"/>
          </p:nvPr>
        </p:nvSpPr>
        <p:spPr>
          <a:xfrm>
            <a:off x="8148638" y="1943100"/>
            <a:ext cx="3671887" cy="369411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pic>
        <p:nvPicPr>
          <p:cNvPr id="9" name="Picture 29">
            <a:extLst>
              <a:ext uri="{FF2B5EF4-FFF2-40B4-BE49-F238E27FC236}">
                <a16:creationId xmlns:a16="http://schemas.microsoft.com/office/drawing/2014/main" id="{C6313E68-E994-9F74-4408-671D5FBEC5B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4073979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371476" y="1943099"/>
            <a:ext cx="5616574"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03951" y="1943099"/>
            <a:ext cx="5616574" cy="3694879"/>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9" name="Picture 29">
            <a:extLst>
              <a:ext uri="{FF2B5EF4-FFF2-40B4-BE49-F238E27FC236}">
                <a16:creationId xmlns:a16="http://schemas.microsoft.com/office/drawing/2014/main" id="{FBB58968-0709-73F6-9B45-7BBC0A510C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517266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49"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371475" y="1943100"/>
            <a:ext cx="3671887"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4259263" y="1943100"/>
            <a:ext cx="7561262" cy="3694878"/>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10" name="Picture 29">
            <a:extLst>
              <a:ext uri="{FF2B5EF4-FFF2-40B4-BE49-F238E27FC236}">
                <a16:creationId xmlns:a16="http://schemas.microsoft.com/office/drawing/2014/main" id="{6E2678F6-0E54-23D9-8207-58085B313B9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39667206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371475" y="1944000"/>
            <a:ext cx="3671888" cy="36936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12" name="Picture 29">
            <a:extLst>
              <a:ext uri="{FF2B5EF4-FFF2-40B4-BE49-F238E27FC236}">
                <a16:creationId xmlns:a16="http://schemas.microsoft.com/office/drawing/2014/main" id="{A9EF761D-2C9D-EE00-DD36-FC58D6D8AC1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Content Placeholder 2">
            <a:extLst>
              <a:ext uri="{FF2B5EF4-FFF2-40B4-BE49-F238E27FC236}">
                <a16:creationId xmlns:a16="http://schemas.microsoft.com/office/drawing/2014/main" id="{4303162A-0EB1-D03C-7C03-2FFE2ECA461D}"/>
              </a:ext>
            </a:extLst>
          </p:cNvPr>
          <p:cNvSpPr>
            <a:spLocks noGrp="1"/>
          </p:cNvSpPr>
          <p:nvPr>
            <p:ph sz="half" idx="15" hasCustomPrompt="1"/>
          </p:nvPr>
        </p:nvSpPr>
        <p:spPr>
          <a:xfrm>
            <a:off x="4259263" y="1944000"/>
            <a:ext cx="3671888" cy="36936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Content Placeholder 2">
            <a:extLst>
              <a:ext uri="{FF2B5EF4-FFF2-40B4-BE49-F238E27FC236}">
                <a16:creationId xmlns:a16="http://schemas.microsoft.com/office/drawing/2014/main" id="{EFDB81EA-9984-642B-5B6B-F2E9CE3B1C6B}"/>
              </a:ext>
            </a:extLst>
          </p:cNvPr>
          <p:cNvSpPr>
            <a:spLocks noGrp="1"/>
          </p:cNvSpPr>
          <p:nvPr>
            <p:ph sz="half" idx="16" hasCustomPrompt="1"/>
          </p:nvPr>
        </p:nvSpPr>
        <p:spPr>
          <a:xfrm>
            <a:off x="8148638" y="1944000"/>
            <a:ext cx="3671888" cy="36936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850578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371475" y="1944000"/>
            <a:ext cx="2700338" cy="36936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13" name="Picture 29">
            <a:extLst>
              <a:ext uri="{FF2B5EF4-FFF2-40B4-BE49-F238E27FC236}">
                <a16:creationId xmlns:a16="http://schemas.microsoft.com/office/drawing/2014/main" id="{6232E4B3-49DC-214C-05C1-B2687D35982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5" name="Content Placeholder 2">
            <a:extLst>
              <a:ext uri="{FF2B5EF4-FFF2-40B4-BE49-F238E27FC236}">
                <a16:creationId xmlns:a16="http://schemas.microsoft.com/office/drawing/2014/main" id="{4611CE19-8A15-7AA7-041F-78BA62AAFA9D}"/>
              </a:ext>
            </a:extLst>
          </p:cNvPr>
          <p:cNvSpPr>
            <a:spLocks noGrp="1"/>
          </p:cNvSpPr>
          <p:nvPr>
            <p:ph sz="half" idx="15" hasCustomPrompt="1"/>
          </p:nvPr>
        </p:nvSpPr>
        <p:spPr>
          <a:xfrm>
            <a:off x="3287713" y="1944000"/>
            <a:ext cx="2700338" cy="36936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6" name="Content Placeholder 2">
            <a:extLst>
              <a:ext uri="{FF2B5EF4-FFF2-40B4-BE49-F238E27FC236}">
                <a16:creationId xmlns:a16="http://schemas.microsoft.com/office/drawing/2014/main" id="{4EF24E1C-6314-6E48-762E-1D02C7FB64F0}"/>
              </a:ext>
            </a:extLst>
          </p:cNvPr>
          <p:cNvSpPr>
            <a:spLocks noGrp="1"/>
          </p:cNvSpPr>
          <p:nvPr>
            <p:ph sz="half" idx="16" hasCustomPrompt="1"/>
          </p:nvPr>
        </p:nvSpPr>
        <p:spPr>
          <a:xfrm>
            <a:off x="6203950" y="1944000"/>
            <a:ext cx="2700338" cy="36936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7" name="Content Placeholder 2">
            <a:extLst>
              <a:ext uri="{FF2B5EF4-FFF2-40B4-BE49-F238E27FC236}">
                <a16:creationId xmlns:a16="http://schemas.microsoft.com/office/drawing/2014/main" id="{100778A8-C447-C03D-FC2E-A4BE7A781F4A}"/>
              </a:ext>
            </a:extLst>
          </p:cNvPr>
          <p:cNvSpPr>
            <a:spLocks noGrp="1"/>
          </p:cNvSpPr>
          <p:nvPr>
            <p:ph sz="half" idx="17" hasCustomPrompt="1"/>
          </p:nvPr>
        </p:nvSpPr>
        <p:spPr>
          <a:xfrm>
            <a:off x="9120336" y="1944000"/>
            <a:ext cx="2700338" cy="36936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215976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ed list with numb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719138"/>
          </a:xfrm>
        </p:spPr>
        <p:txBody>
          <a:bodyPr/>
          <a:lstStyle>
            <a:lvl1pPr>
              <a:defRPr sz="2400"/>
            </a:lvl1pPr>
          </a:lstStyle>
          <a:p>
            <a:r>
              <a:rPr lang="en-GB" noProof="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371475" y="1944000"/>
            <a:ext cx="755650" cy="3694113"/>
          </a:xfrm>
        </p:spPr>
        <p:txBody>
          <a:bodyPr/>
          <a:lstStyle>
            <a:lvl1pPr marL="0" indent="0">
              <a:spcAft>
                <a:spcPts val="2400"/>
              </a:spcAft>
              <a:buNone/>
              <a:defRPr lang="en-US" sz="2800" kern="1200" dirty="0" smtClean="0">
                <a:solidFill>
                  <a:schemeClr val="accent1"/>
                </a:solidFill>
                <a:latin typeface="+mj-lt"/>
                <a:ea typeface="+mn-ea"/>
                <a:cs typeface="+mn-cs"/>
              </a:defRPr>
            </a:lvl1pPr>
          </a:lstStyle>
          <a:p>
            <a:pPr lvl="0"/>
            <a:r>
              <a:rPr lang="en-GB"/>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343025" y="1944000"/>
            <a:ext cx="10477500" cy="3694113"/>
          </a:xfrm>
        </p:spPr>
        <p:txBody>
          <a:bodyPr/>
          <a:lstStyle>
            <a:lvl1pPr marL="0" indent="0">
              <a:spcAft>
                <a:spcPts val="2400"/>
              </a:spcAft>
              <a:buNone/>
              <a:defRPr lang="en-US" sz="2800" kern="1200" dirty="0" smtClean="0">
                <a:solidFill>
                  <a:schemeClr val="tx1"/>
                </a:solidFill>
                <a:latin typeface="+mj-lt"/>
                <a:ea typeface="+mn-ea"/>
                <a:cs typeface="+mn-cs"/>
              </a:defRPr>
            </a:lvl1pPr>
          </a:lstStyle>
          <a:p>
            <a:pPr lvl="0"/>
            <a:r>
              <a:rPr lang="en-GB" noProof="0"/>
              <a:t>Click to add text</a:t>
            </a:r>
            <a:endParaRPr lang="en-GB"/>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a:p>
        </p:txBody>
      </p:sp>
      <p:pic>
        <p:nvPicPr>
          <p:cNvPr id="9" name="Picture 29">
            <a:extLst>
              <a:ext uri="{FF2B5EF4-FFF2-40B4-BE49-F238E27FC236}">
                <a16:creationId xmlns:a16="http://schemas.microsoft.com/office/drawing/2014/main" id="{16B04E69-9AF9-E93D-C3CD-A15BD097427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8122178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veral text box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536757-24D6-4CE3-BC82-E594F5B33A4A}"/>
              </a:ext>
            </a:extLst>
          </p:cNvPr>
          <p:cNvSpPr>
            <a:spLocks noGrp="1"/>
          </p:cNvSpPr>
          <p:nvPr>
            <p:ph type="title" hasCustomPrompt="1"/>
          </p:nvPr>
        </p:nvSpPr>
        <p:spPr>
          <a:xfrm>
            <a:off x="371475" y="368300"/>
            <a:ext cx="11449050" cy="930275"/>
          </a:xfrm>
        </p:spPr>
        <p:txBody>
          <a:bodyPr/>
          <a:lstStyle>
            <a:lvl1pPr>
              <a:defRPr/>
            </a:lvl1pPr>
          </a:lstStyle>
          <a:p>
            <a:r>
              <a:rPr lang="en-US"/>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371474" y="1527716"/>
            <a:ext cx="5616575" cy="1753641"/>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spcBef>
                <a:spcPts val="0"/>
              </a:spcBef>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371474" y="4070350"/>
            <a:ext cx="5616575" cy="1566850"/>
          </a:xfrm>
        </p:spPr>
        <p:txBody>
          <a:bodyPr/>
          <a:lstStyle>
            <a:lvl1pPr marL="0" indent="0">
              <a:buFont typeface="Arial" panose="020B0604020202020204" pitchFamily="34" charset="0"/>
              <a:buChar char="​"/>
              <a:defRPr sz="1100" b="1">
                <a:solidFill>
                  <a:schemeClr val="accent1"/>
                </a:solidFill>
                <a:latin typeface="+mn-lt"/>
              </a:defRPr>
            </a:lvl1pPr>
            <a:lvl2pPr marL="180000" indent="-180000">
              <a:spcBef>
                <a:spcPts val="0"/>
              </a:spcBef>
              <a:buFont typeface="Arial" panose="020B0604020202020204" pitchFamily="34" charset="0"/>
              <a:buChar char="•"/>
              <a:defRPr sz="1100" b="0">
                <a:solidFill>
                  <a:schemeClr val="tx1"/>
                </a:solidFill>
                <a:latin typeface="+mn-lt"/>
              </a:defRPr>
            </a:lvl2pPr>
            <a:lvl3pPr marL="360000">
              <a:defRPr>
                <a:solidFill>
                  <a:schemeClr val="tx1"/>
                </a:solidFill>
                <a:latin typeface="+mn-lt"/>
              </a:defRPr>
            </a:lvl3pPr>
            <a:lvl4pPr>
              <a:defRPr>
                <a:latin typeface="+mn-lt"/>
              </a:defRPr>
            </a:lvl4pPr>
            <a:lvl5pPr>
              <a:defRPr>
                <a:solidFill>
                  <a:schemeClr val="tx1"/>
                </a:solidFill>
                <a:latin typeface="+mn-lt"/>
              </a:defRPr>
            </a:lvl5pPr>
            <a:lvl6pPr>
              <a:defRPr>
                <a:latin typeface="+mn-lt"/>
              </a:defRPr>
            </a:lvl6pPr>
          </a:lstStyle>
          <a:p>
            <a:pPr lvl="0"/>
            <a:r>
              <a:rPr lang="en-GB" noProof="0"/>
              <a:t>Click to add text</a:t>
            </a:r>
          </a:p>
          <a:p>
            <a:pPr lvl="1"/>
            <a:r>
              <a:rPr lang="en-GB" noProof="0"/>
              <a:t>2</a:t>
            </a:r>
          </a:p>
          <a:p>
            <a:pPr lvl="2"/>
            <a:r>
              <a:rPr lang="en-GB" noProof="0"/>
              <a:t>3</a:t>
            </a:r>
          </a:p>
          <a:p>
            <a:pPr lvl="3"/>
            <a:r>
              <a:rPr lang="en-GB" noProof="0"/>
              <a:t>4</a:t>
            </a:r>
          </a:p>
          <a:p>
            <a:pPr lvl="4"/>
            <a:r>
              <a:rPr lang="en-GB" noProof="0"/>
              <a:t>5</a:t>
            </a:r>
          </a:p>
          <a:p>
            <a:pPr lvl="5"/>
            <a:r>
              <a:rPr lang="en-GB" noProof="0"/>
              <a:t>6</a:t>
            </a:r>
            <a:endParaRPr lang="en-GB"/>
          </a:p>
        </p:txBody>
      </p:sp>
      <p:sp>
        <p:nvSpPr>
          <p:cNvPr id="4" name="Content Placeholder 4">
            <a:extLst>
              <a:ext uri="{FF2B5EF4-FFF2-40B4-BE49-F238E27FC236}">
                <a16:creationId xmlns:a16="http://schemas.microsoft.com/office/drawing/2014/main" id="{25700A65-5A8D-4928-8A10-F9DB7E931F98}"/>
              </a:ext>
            </a:extLst>
          </p:cNvPr>
          <p:cNvSpPr>
            <a:spLocks noGrp="1"/>
          </p:cNvSpPr>
          <p:nvPr>
            <p:ph sz="quarter" idx="25" hasCustomPrompt="1"/>
          </p:nvPr>
        </p:nvSpPr>
        <p:spPr>
          <a:xfrm>
            <a:off x="6203950" y="1527717"/>
            <a:ext cx="5467350" cy="2537993"/>
          </a:xfrm>
        </p:spPr>
        <p:txBody>
          <a:bodyPr tIns="72000"/>
          <a:lstStyle>
            <a:lvl1pPr>
              <a:defRPr sz="1100">
                <a:solidFill>
                  <a:schemeClr val="tx1"/>
                </a:solidFill>
              </a:defRPr>
            </a:lvl1pPr>
            <a:lvl2pPr>
              <a:defRPr sz="1100">
                <a:solidFill>
                  <a:schemeClr val="tx1"/>
                </a:solidFill>
              </a:defRPr>
            </a:lvl2pPr>
            <a:lvl3pPr>
              <a:defRPr sz="1100">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3" name="Text Placeholder 5">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6203950" y="4654550"/>
            <a:ext cx="4532313" cy="982663"/>
          </a:xfrm>
        </p:spPr>
        <p:txBody>
          <a:bodyPr tIns="0" numCol="2" spcCol="180000"/>
          <a:lstStyle>
            <a:lvl1pPr marL="0" indent="0">
              <a:spcAft>
                <a:spcPts val="0"/>
              </a:spcAft>
              <a:buClrTx/>
              <a:buFont typeface="Arial" panose="020B0604020202020204" pitchFamily="34" charset="0"/>
              <a:buChar char="​"/>
              <a:defRPr sz="1100" b="1">
                <a:solidFill>
                  <a:schemeClr val="accent1"/>
                </a:solidFill>
              </a:defRPr>
            </a:lvl1pPr>
            <a:lvl2pPr marL="0" indent="0">
              <a:lnSpc>
                <a:spcPct val="110000"/>
              </a:lnSpc>
              <a:spcBef>
                <a:spcPts val="0"/>
              </a:spcBef>
              <a:spcAft>
                <a:spcPts val="0"/>
              </a:spcAft>
              <a:buFont typeface="Arial" panose="020B0604020202020204" pitchFamily="34" charset="0"/>
              <a:buChar char="​"/>
              <a:defRPr sz="1100">
                <a:solidFill>
                  <a:srgbClr val="878787"/>
                </a:solidFill>
              </a:defRPr>
            </a:lvl2pPr>
            <a:lvl3pPr marL="180000">
              <a:lnSpc>
                <a:spcPct val="110000"/>
              </a:lnSpc>
              <a:spcBef>
                <a:spcPts val="0"/>
              </a:spcBef>
              <a:spcAft>
                <a:spcPts val="0"/>
              </a:spcAft>
              <a:defRPr sz="1100">
                <a:solidFill>
                  <a:srgbClr val="878787"/>
                </a:solidFill>
              </a:defRPr>
            </a:lvl3pPr>
          </a:lstStyle>
          <a:p>
            <a:pPr lvl="0"/>
            <a:r>
              <a:rPr lang="en-GB" noProof="0"/>
              <a:t>Click to add text</a:t>
            </a:r>
          </a:p>
          <a:p>
            <a:pPr lvl="1"/>
            <a:r>
              <a:rPr lang="en-GB" noProof="0"/>
              <a:t>1</a:t>
            </a:r>
          </a:p>
          <a:p>
            <a:pPr lvl="2"/>
            <a:r>
              <a:rPr lang="en-GB" noProof="0"/>
              <a:t>2</a:t>
            </a:r>
          </a:p>
          <a:p>
            <a:pPr lvl="3"/>
            <a:r>
              <a:rPr lang="en-GB" noProof="0"/>
              <a:t>3</a:t>
            </a:r>
            <a:endParaRPr lang="en-GB"/>
          </a:p>
        </p:txBody>
      </p:sp>
      <p:cxnSp>
        <p:nvCxnSpPr>
          <p:cNvPr id="27" name="Straight Connector 1">
            <a:extLst>
              <a:ext uri="{FF2B5EF4-FFF2-40B4-BE49-F238E27FC236}">
                <a16:creationId xmlns:a16="http://schemas.microsoft.com/office/drawing/2014/main" id="{7096DEC8-77C9-4DD3-9025-ECDC80F2146B}"/>
              </a:ext>
            </a:extLst>
          </p:cNvPr>
          <p:cNvCxnSpPr>
            <a:cxnSpLocks/>
          </p:cNvCxnSpPr>
          <p:nvPr userDrawn="1"/>
        </p:nvCxnSpPr>
        <p:spPr>
          <a:xfrm>
            <a:off x="371476" y="3521075"/>
            <a:ext cx="5616574"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90E9CF-510E-4225-A3BB-91F013987BD5}"/>
              </a:ext>
            </a:extLst>
          </p:cNvPr>
          <p:cNvCxnSpPr>
            <a:cxnSpLocks/>
          </p:cNvCxnSpPr>
          <p:nvPr userDrawn="1"/>
        </p:nvCxnSpPr>
        <p:spPr>
          <a:xfrm>
            <a:off x="6203950" y="1527717"/>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3">
            <a:extLst>
              <a:ext uri="{FF2B5EF4-FFF2-40B4-BE49-F238E27FC236}">
                <a16:creationId xmlns:a16="http://schemas.microsoft.com/office/drawing/2014/main" id="{CA039D30-14CC-454E-9DA1-C777E3C44776}"/>
              </a:ext>
            </a:extLst>
          </p:cNvPr>
          <p:cNvCxnSpPr>
            <a:cxnSpLocks/>
          </p:cNvCxnSpPr>
          <p:nvPr userDrawn="1"/>
        </p:nvCxnSpPr>
        <p:spPr>
          <a:xfrm>
            <a:off x="6203950" y="4400550"/>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2C382236-11EE-4251-B331-C34A1F0BC3C7}"/>
              </a:ext>
            </a:extLst>
          </p:cNvPr>
          <p:cNvSpPr>
            <a:spLocks noGrp="1"/>
          </p:cNvSpPr>
          <p:nvPr>
            <p:ph type="dt" sz="half" idx="26"/>
          </p:nvPr>
        </p:nvSpPr>
        <p:spPr/>
        <p:txBody>
          <a:bodyPr/>
          <a:lstStyle/>
          <a:p>
            <a:endParaRPr lang="en-GB"/>
          </a:p>
        </p:txBody>
      </p:sp>
      <p:pic>
        <p:nvPicPr>
          <p:cNvPr id="11" name="Picture 29">
            <a:extLst>
              <a:ext uri="{FF2B5EF4-FFF2-40B4-BE49-F238E27FC236}">
                <a16:creationId xmlns:a16="http://schemas.microsoft.com/office/drawing/2014/main" id="{272FB1A2-A618-BDCF-2F36-D70EA9F969B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6222527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7175500" y="368301"/>
            <a:ext cx="4645025" cy="5135563"/>
          </a:xfrm>
          <a:noFill/>
          <a:ln>
            <a:noFill/>
          </a:ln>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8" name="Title 1">
            <a:extLst>
              <a:ext uri="{FF2B5EF4-FFF2-40B4-BE49-F238E27FC236}">
                <a16:creationId xmlns:a16="http://schemas.microsoft.com/office/drawing/2014/main" id="{E637B88C-6BF1-4846-8D23-5E4678D6149C}"/>
              </a:ext>
            </a:extLst>
          </p:cNvPr>
          <p:cNvSpPr>
            <a:spLocks noGrp="1"/>
          </p:cNvSpPr>
          <p:nvPr>
            <p:ph type="title" hasCustomPrompt="1"/>
          </p:nvPr>
        </p:nvSpPr>
        <p:spPr>
          <a:xfrm>
            <a:off x="371475" y="368300"/>
            <a:ext cx="5616575" cy="930275"/>
          </a:xfrm>
        </p:spPr>
        <p:txBody>
          <a:bodyPr/>
          <a:lstStyle>
            <a:lvl1pPr>
              <a:defRPr/>
            </a:lvl1pPr>
          </a:lstStyle>
          <a:p>
            <a:r>
              <a:rPr lang="en-GB" noProof="0"/>
              <a:t>Click to add title</a:t>
            </a:r>
            <a:endParaRPr lang="en-GB"/>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371139" y="1944000"/>
            <a:ext cx="5616911" cy="1577975"/>
          </a:xfrm>
        </p:spPr>
        <p:txBody>
          <a:bodyPr/>
          <a:lstStyle>
            <a:lvl1pPr>
              <a:defRPr sz="1100">
                <a:solidFill>
                  <a:schemeClr val="tx1"/>
                </a:solidFill>
              </a:defRPr>
            </a:lvl1pPr>
            <a:lvl2pPr marL="0" indent="0">
              <a:spcBef>
                <a:spcPts val="0"/>
              </a:spcBef>
              <a:buFont typeface="Arial" panose="020B0604020202020204" pitchFamily="34" charset="0"/>
              <a:buChar char="​"/>
              <a:defRPr sz="1100" b="1">
                <a:solidFill>
                  <a:schemeClr val="accent1"/>
                </a:solidFill>
              </a:defRPr>
            </a:lvl2pPr>
            <a:lvl3pPr marL="360000">
              <a:defRPr>
                <a:solidFill>
                  <a:schemeClr val="tx1"/>
                </a:solidFill>
              </a:defRPr>
            </a:lvl3pPr>
            <a:lvl5pPr>
              <a:defRPr>
                <a:solidFill>
                  <a:schemeClr val="tx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371138" y="3944750"/>
            <a:ext cx="5616912" cy="230376"/>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rgbClr val="687A86"/>
                </a:solidFill>
              </a:defRPr>
            </a:lvl2pPr>
            <a:lvl3pPr marL="360000">
              <a:defRPr>
                <a:solidFill>
                  <a:srgbClr val="687A86"/>
                </a:solidFill>
              </a:defRPr>
            </a:lvl3pPr>
            <a:lvl5pPr>
              <a:defRPr>
                <a:solidFill>
                  <a:srgbClr val="687A86"/>
                </a:solidFill>
              </a:defRPr>
            </a:lvl5pPr>
          </a:lstStyle>
          <a:p>
            <a:pPr lvl="0"/>
            <a:r>
              <a:rPr lang="en-GB" noProof="0"/>
              <a:t>Click to add text</a:t>
            </a:r>
            <a:endParaRPr lang="en-GB"/>
          </a:p>
        </p:txBody>
      </p:sp>
      <p:sp>
        <p:nvSpPr>
          <p:cNvPr id="33" name="Text Placeholder 4">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371139" y="4306706"/>
            <a:ext cx="5616911" cy="876454"/>
          </a:xfrm>
        </p:spPr>
        <p:txBody>
          <a:bodyPr tIns="90000" numCol="2" spcCol="180000"/>
          <a:lstStyle>
            <a:lvl1pPr marL="198000" indent="-198000">
              <a:spcAft>
                <a:spcPts val="300"/>
              </a:spcAft>
              <a:buClrTx/>
              <a:buFont typeface="+mj-lt"/>
              <a:buAutoNum type="arabicPeriod"/>
              <a:defRPr sz="1100">
                <a:solidFill>
                  <a:srgbClr val="878787"/>
                </a:solidFill>
              </a:defRPr>
            </a:lvl1pPr>
          </a:lstStyle>
          <a:p>
            <a:pPr lvl="0"/>
            <a:r>
              <a:rPr lang="en-GB" noProof="0"/>
              <a:t>Click to add text</a:t>
            </a:r>
            <a:endParaRPr lang="en-GB"/>
          </a:p>
        </p:txBody>
      </p:sp>
      <p:cxnSp>
        <p:nvCxnSpPr>
          <p:cNvPr id="12" name="Straight Connector 1">
            <a:extLst>
              <a:ext uri="{FF2B5EF4-FFF2-40B4-BE49-F238E27FC236}">
                <a16:creationId xmlns:a16="http://schemas.microsoft.com/office/drawing/2014/main" id="{CA039D30-14CC-454E-9DA1-C777E3C44776}"/>
              </a:ext>
            </a:extLst>
          </p:cNvPr>
          <p:cNvCxnSpPr>
            <a:cxnSpLocks/>
          </p:cNvCxnSpPr>
          <p:nvPr userDrawn="1"/>
        </p:nvCxnSpPr>
        <p:spPr>
          <a:xfrm>
            <a:off x="371140" y="4175126"/>
            <a:ext cx="561691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3D1E53-A268-4438-A6D9-6DD6795760C6}"/>
              </a:ext>
            </a:extLst>
          </p:cNvPr>
          <p:cNvCxnSpPr>
            <a:cxnSpLocks/>
          </p:cNvCxnSpPr>
          <p:nvPr userDrawn="1"/>
        </p:nvCxnSpPr>
        <p:spPr>
          <a:xfrm>
            <a:off x="371140" y="5503864"/>
            <a:ext cx="5616910"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83C375B8-9D52-48FF-B9DE-8BD6EEC3AB3E}"/>
              </a:ext>
            </a:extLst>
          </p:cNvPr>
          <p:cNvSpPr>
            <a:spLocks noGrp="1"/>
          </p:cNvSpPr>
          <p:nvPr>
            <p:ph type="dt" sz="half" idx="25"/>
          </p:nvPr>
        </p:nvSpPr>
        <p:spPr/>
        <p:txBody>
          <a:bodyPr/>
          <a:lstStyle/>
          <a:p>
            <a:endParaRPr lang="en-GB"/>
          </a:p>
        </p:txBody>
      </p:sp>
      <p:pic>
        <p:nvPicPr>
          <p:cNvPr id="6" name="Picture 29">
            <a:extLst>
              <a:ext uri="{FF2B5EF4-FFF2-40B4-BE49-F238E27FC236}">
                <a16:creationId xmlns:a16="http://schemas.microsoft.com/office/drawing/2014/main" id="{06B3FA51-6198-F6A8-3100-4DFE4BE5BA2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1289743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476F36D-20D6-DA45-B57D-969664BC86BE}"/>
              </a:ext>
            </a:extLst>
          </p:cNvPr>
          <p:cNvSpPr>
            <a:spLocks noGrp="1"/>
          </p:cNvSpPr>
          <p:nvPr>
            <p:ph type="pic" sz="quarter" idx="13" hasCustomPrompt="1"/>
          </p:nvPr>
        </p:nvSpPr>
        <p:spPr>
          <a:xfrm>
            <a:off x="5718314" y="0"/>
            <a:ext cx="6474887" cy="6861600"/>
          </a:xfrm>
          <a:custGeom>
            <a:avLst/>
            <a:gdLst>
              <a:gd name="connsiteX0" fmla="*/ 744887 w 6474887"/>
              <a:gd name="connsiteY0" fmla="*/ 0 h 6861600"/>
              <a:gd name="connsiteX1" fmla="*/ 6474887 w 6474887"/>
              <a:gd name="connsiteY1" fmla="*/ 0 h 6861600"/>
              <a:gd name="connsiteX2" fmla="*/ 6474887 w 6474887"/>
              <a:gd name="connsiteY2" fmla="*/ 6861600 h 6861600"/>
              <a:gd name="connsiteX3" fmla="*/ 0 w 6474887"/>
              <a:gd name="connsiteY3" fmla="*/ 6861600 h 6861600"/>
              <a:gd name="connsiteX4" fmla="*/ 0 w 6474887"/>
              <a:gd name="connsiteY4" fmla="*/ 6851785 h 6861600"/>
              <a:gd name="connsiteX5" fmla="*/ 144566 w 6474887"/>
              <a:gd name="connsiteY5" fmla="*/ 6823232 h 6861600"/>
              <a:gd name="connsiteX6" fmla="*/ 744887 w 6474887"/>
              <a:gd name="connsiteY6" fmla="*/ 601769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4887" h="6861600">
                <a:moveTo>
                  <a:pt x="744887" y="0"/>
                </a:moveTo>
                <a:lnTo>
                  <a:pt x="6474887" y="0"/>
                </a:lnTo>
                <a:lnTo>
                  <a:pt x="6474887" y="6861600"/>
                </a:lnTo>
                <a:lnTo>
                  <a:pt x="0" y="6861600"/>
                </a:lnTo>
                <a:lnTo>
                  <a:pt x="0" y="6851785"/>
                </a:lnTo>
                <a:lnTo>
                  <a:pt x="144566" y="6823232"/>
                </a:lnTo>
                <a:cubicBezTo>
                  <a:pt x="491724" y="6719960"/>
                  <a:pt x="744887" y="6398390"/>
                  <a:pt x="744887" y="6017690"/>
                </a:cubicBez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4" name="Freeform 3">
            <a:extLst>
              <a:ext uri="{FF2B5EF4-FFF2-40B4-BE49-F238E27FC236}">
                <a16:creationId xmlns:a16="http://schemas.microsoft.com/office/drawing/2014/main" id="{7DCD57E8-2CA4-5403-8D3A-B46A117F1865}"/>
              </a:ext>
            </a:extLst>
          </p:cNvPr>
          <p:cNvSpPr/>
          <p:nvPr userDrawn="1"/>
        </p:nvSpPr>
        <p:spPr>
          <a:xfrm>
            <a:off x="-13462" y="0"/>
            <a:ext cx="6109462" cy="6858000"/>
          </a:xfrm>
          <a:custGeom>
            <a:avLst/>
            <a:gdLst>
              <a:gd name="connsiteX0" fmla="*/ 0 w 6109462"/>
              <a:gd name="connsiteY0" fmla="*/ 0 h 6858000"/>
              <a:gd name="connsiteX1" fmla="*/ 4140200 w 6109462"/>
              <a:gd name="connsiteY1" fmla="*/ 0 h 6858000"/>
              <a:gd name="connsiteX2" fmla="*/ 4457700 w 6109462"/>
              <a:gd name="connsiteY2" fmla="*/ 0 h 6858000"/>
              <a:gd name="connsiteX3" fmla="*/ 6109462 w 6109462"/>
              <a:gd name="connsiteY3" fmla="*/ 0 h 6858000"/>
              <a:gd name="connsiteX4" fmla="*/ 6109462 w 6109462"/>
              <a:gd name="connsiteY4" fmla="*/ 4789046 h 6858000"/>
              <a:gd name="connsiteX5" fmla="*/ 6109462 w 6109462"/>
              <a:gd name="connsiteY5" fmla="*/ 4902200 h 6858000"/>
              <a:gd name="connsiteX6" fmla="*/ 6109462 w 6109462"/>
              <a:gd name="connsiteY6" fmla="*/ 6010018 h 6858000"/>
              <a:gd name="connsiteX7" fmla="*/ 5261480 w 6109462"/>
              <a:gd name="connsiteY7" fmla="*/ 6858000 h 6858000"/>
              <a:gd name="connsiteX8" fmla="*/ 4457700 w 6109462"/>
              <a:gd name="connsiteY8" fmla="*/ 6858000 h 6858000"/>
              <a:gd name="connsiteX9" fmla="*/ 4140200 w 6109462"/>
              <a:gd name="connsiteY9" fmla="*/ 6858000 h 6858000"/>
              <a:gd name="connsiteX10" fmla="*/ 4048382 w 6109462"/>
              <a:gd name="connsiteY10" fmla="*/ 6858000 h 6858000"/>
              <a:gd name="connsiteX11" fmla="*/ 3730882 w 6109462"/>
              <a:gd name="connsiteY11" fmla="*/ 6858000 h 6858000"/>
              <a:gd name="connsiteX12" fmla="*/ 0 w 610946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9462" h="6858000">
                <a:moveTo>
                  <a:pt x="0" y="0"/>
                </a:moveTo>
                <a:lnTo>
                  <a:pt x="4140200" y="0"/>
                </a:lnTo>
                <a:lnTo>
                  <a:pt x="4457700" y="0"/>
                </a:lnTo>
                <a:lnTo>
                  <a:pt x="6109462" y="0"/>
                </a:lnTo>
                <a:lnTo>
                  <a:pt x="6109462" y="4789046"/>
                </a:lnTo>
                <a:lnTo>
                  <a:pt x="6109462" y="4902200"/>
                </a:lnTo>
                <a:lnTo>
                  <a:pt x="6109462" y="6010018"/>
                </a:lnTo>
                <a:cubicBezTo>
                  <a:pt x="6109462" y="6478346"/>
                  <a:pt x="5729808" y="6858000"/>
                  <a:pt x="5261480" y="6858000"/>
                </a:cubicBezTo>
                <a:lnTo>
                  <a:pt x="4457700" y="6858000"/>
                </a:lnTo>
                <a:lnTo>
                  <a:pt x="4140200" y="6858000"/>
                </a:lnTo>
                <a:lnTo>
                  <a:pt x="4048382" y="6858000"/>
                </a:lnTo>
                <a:lnTo>
                  <a:pt x="3730882"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solidFill>
                <a:schemeClr val="tx1"/>
              </a:solidFill>
            </a:endParaRPr>
          </a:p>
        </p:txBody>
      </p:sp>
      <p:sp>
        <p:nvSpPr>
          <p:cNvPr id="2" name="Title 1"/>
          <p:cNvSpPr>
            <a:spLocks noGrp="1"/>
          </p:cNvSpPr>
          <p:nvPr>
            <p:ph type="ctrTitle" hasCustomPrompt="1"/>
          </p:nvPr>
        </p:nvSpPr>
        <p:spPr>
          <a:xfrm>
            <a:off x="371476" y="368300"/>
            <a:ext cx="5368421" cy="1816100"/>
          </a:xfrm>
        </p:spPr>
        <p:txBody>
          <a:bodyPr anchor="t"/>
          <a:lstStyle>
            <a:lvl1pPr algn="l">
              <a:defRPr sz="6600">
                <a:solidFill>
                  <a:schemeClr val="bg1"/>
                </a:solidFill>
              </a:defRPr>
            </a:lvl1pPr>
          </a:lstStyle>
          <a:p>
            <a:r>
              <a:rPr lang="en-GB"/>
              <a:t>Click to add title</a:t>
            </a:r>
          </a:p>
        </p:txBody>
      </p:sp>
      <p:pic>
        <p:nvPicPr>
          <p:cNvPr id="3" name="Picture 29">
            <a:extLst>
              <a:ext uri="{FF2B5EF4-FFF2-40B4-BE49-F238E27FC236}">
                <a16:creationId xmlns:a16="http://schemas.microsoft.com/office/drawing/2014/main" id="{C08B9667-A40C-1FC7-3C31-73B7EC77AF1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5850"/>
            <a:ext cx="1299398" cy="320400"/>
          </a:xfrm>
          <a:prstGeom prst="rect">
            <a:avLst/>
          </a:prstGeom>
        </p:spPr>
      </p:pic>
    </p:spTree>
    <p:extLst>
      <p:ext uri="{BB962C8B-B14F-4D97-AF65-F5344CB8AC3E}">
        <p14:creationId xmlns:p14="http://schemas.microsoft.com/office/powerpoint/2010/main" val="20235267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7561263"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371475" y="1943100"/>
            <a:ext cx="7561263" cy="369411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48638" y="368300"/>
            <a:ext cx="3671887"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pic>
        <p:nvPicPr>
          <p:cNvPr id="9" name="Picture 29">
            <a:extLst>
              <a:ext uri="{FF2B5EF4-FFF2-40B4-BE49-F238E27FC236}">
                <a16:creationId xmlns:a16="http://schemas.microsoft.com/office/drawing/2014/main" id="{C3CF8F27-F55A-7C7D-746F-7A4B4EEC858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4815564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chemeClr val="accent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DD774AC-27F4-EDB1-885A-6AD6E6F42CD9}"/>
              </a:ext>
            </a:extLst>
          </p:cNvPr>
          <p:cNvSpPr/>
          <p:nvPr userDrawn="1"/>
        </p:nvSpPr>
        <p:spPr>
          <a:xfrm>
            <a:off x="-13462" y="0"/>
            <a:ext cx="6109462" cy="6858000"/>
          </a:xfrm>
          <a:custGeom>
            <a:avLst/>
            <a:gdLst>
              <a:gd name="connsiteX0" fmla="*/ 0 w 6109462"/>
              <a:gd name="connsiteY0" fmla="*/ 0 h 6858000"/>
              <a:gd name="connsiteX1" fmla="*/ 4140200 w 6109462"/>
              <a:gd name="connsiteY1" fmla="*/ 0 h 6858000"/>
              <a:gd name="connsiteX2" fmla="*/ 4457700 w 6109462"/>
              <a:gd name="connsiteY2" fmla="*/ 0 h 6858000"/>
              <a:gd name="connsiteX3" fmla="*/ 6109462 w 6109462"/>
              <a:gd name="connsiteY3" fmla="*/ 0 h 6858000"/>
              <a:gd name="connsiteX4" fmla="*/ 6109462 w 6109462"/>
              <a:gd name="connsiteY4" fmla="*/ 4789046 h 6858000"/>
              <a:gd name="connsiteX5" fmla="*/ 6109462 w 6109462"/>
              <a:gd name="connsiteY5" fmla="*/ 4902200 h 6858000"/>
              <a:gd name="connsiteX6" fmla="*/ 6109462 w 6109462"/>
              <a:gd name="connsiteY6" fmla="*/ 6010018 h 6858000"/>
              <a:gd name="connsiteX7" fmla="*/ 5261480 w 6109462"/>
              <a:gd name="connsiteY7" fmla="*/ 6858000 h 6858000"/>
              <a:gd name="connsiteX8" fmla="*/ 4457700 w 6109462"/>
              <a:gd name="connsiteY8" fmla="*/ 6858000 h 6858000"/>
              <a:gd name="connsiteX9" fmla="*/ 4140200 w 6109462"/>
              <a:gd name="connsiteY9" fmla="*/ 6858000 h 6858000"/>
              <a:gd name="connsiteX10" fmla="*/ 4048382 w 6109462"/>
              <a:gd name="connsiteY10" fmla="*/ 6858000 h 6858000"/>
              <a:gd name="connsiteX11" fmla="*/ 3730882 w 6109462"/>
              <a:gd name="connsiteY11" fmla="*/ 6858000 h 6858000"/>
              <a:gd name="connsiteX12" fmla="*/ 0 w 610946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9462" h="6858000">
                <a:moveTo>
                  <a:pt x="0" y="0"/>
                </a:moveTo>
                <a:lnTo>
                  <a:pt x="4140200" y="0"/>
                </a:lnTo>
                <a:lnTo>
                  <a:pt x="4457700" y="0"/>
                </a:lnTo>
                <a:lnTo>
                  <a:pt x="6109462" y="0"/>
                </a:lnTo>
                <a:lnTo>
                  <a:pt x="6109462" y="4789046"/>
                </a:lnTo>
                <a:lnTo>
                  <a:pt x="6109462" y="4902200"/>
                </a:lnTo>
                <a:lnTo>
                  <a:pt x="6109462" y="6010018"/>
                </a:lnTo>
                <a:cubicBezTo>
                  <a:pt x="6109462" y="6478346"/>
                  <a:pt x="5729808" y="6858000"/>
                  <a:pt x="5261480" y="6858000"/>
                </a:cubicBezTo>
                <a:lnTo>
                  <a:pt x="4457700" y="6858000"/>
                </a:lnTo>
                <a:lnTo>
                  <a:pt x="4140200" y="6858000"/>
                </a:lnTo>
                <a:lnTo>
                  <a:pt x="4048382" y="6858000"/>
                </a:lnTo>
                <a:lnTo>
                  <a:pt x="373088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solidFill>
                <a:schemeClr val="tx1"/>
              </a:solidFill>
            </a:endParaRPr>
          </a:p>
        </p:txBody>
      </p:sp>
      <p:sp>
        <p:nvSpPr>
          <p:cNvPr id="2" name="Title 1"/>
          <p:cNvSpPr>
            <a:spLocks noGrp="1"/>
          </p:cNvSpPr>
          <p:nvPr>
            <p:ph type="ctrTitle" hasCustomPrompt="1"/>
          </p:nvPr>
        </p:nvSpPr>
        <p:spPr>
          <a:xfrm>
            <a:off x="371476" y="368300"/>
            <a:ext cx="5368422" cy="1816100"/>
          </a:xfrm>
        </p:spPr>
        <p:txBody>
          <a:bodyPr anchor="t"/>
          <a:lstStyle>
            <a:lvl1pPr algn="l">
              <a:defRPr sz="6600">
                <a:solidFill>
                  <a:schemeClr val="tx1"/>
                </a:solidFill>
              </a:defRPr>
            </a:lvl1pPr>
          </a:lstStyle>
          <a:p>
            <a:r>
              <a:rPr lang="en-GB"/>
              <a:t>Click to add title</a:t>
            </a:r>
          </a:p>
        </p:txBody>
      </p:sp>
      <p:pic>
        <p:nvPicPr>
          <p:cNvPr id="3" name="Picture 29">
            <a:extLst>
              <a:ext uri="{FF2B5EF4-FFF2-40B4-BE49-F238E27FC236}">
                <a16:creationId xmlns:a16="http://schemas.microsoft.com/office/drawing/2014/main" id="{92ABDFE2-43F2-D5B2-8969-89C9E4B81F9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4" name="Picture Placeholder 3">
            <a:extLst>
              <a:ext uri="{FF2B5EF4-FFF2-40B4-BE49-F238E27FC236}">
                <a16:creationId xmlns:a16="http://schemas.microsoft.com/office/drawing/2014/main" id="{386A6F5A-DFF5-3724-9BC8-FBFC348AC826}"/>
              </a:ext>
            </a:extLst>
          </p:cNvPr>
          <p:cNvSpPr>
            <a:spLocks noGrp="1"/>
          </p:cNvSpPr>
          <p:nvPr>
            <p:ph type="pic" sz="quarter" idx="13" hasCustomPrompt="1"/>
          </p:nvPr>
        </p:nvSpPr>
        <p:spPr>
          <a:xfrm>
            <a:off x="5718314" y="0"/>
            <a:ext cx="6474887" cy="6861600"/>
          </a:xfrm>
          <a:custGeom>
            <a:avLst/>
            <a:gdLst>
              <a:gd name="connsiteX0" fmla="*/ 744887 w 6474887"/>
              <a:gd name="connsiteY0" fmla="*/ 0 h 6861600"/>
              <a:gd name="connsiteX1" fmla="*/ 6474887 w 6474887"/>
              <a:gd name="connsiteY1" fmla="*/ 0 h 6861600"/>
              <a:gd name="connsiteX2" fmla="*/ 6474887 w 6474887"/>
              <a:gd name="connsiteY2" fmla="*/ 6861600 h 6861600"/>
              <a:gd name="connsiteX3" fmla="*/ 0 w 6474887"/>
              <a:gd name="connsiteY3" fmla="*/ 6861600 h 6861600"/>
              <a:gd name="connsiteX4" fmla="*/ 0 w 6474887"/>
              <a:gd name="connsiteY4" fmla="*/ 6851785 h 6861600"/>
              <a:gd name="connsiteX5" fmla="*/ 144566 w 6474887"/>
              <a:gd name="connsiteY5" fmla="*/ 6823232 h 6861600"/>
              <a:gd name="connsiteX6" fmla="*/ 744887 w 6474887"/>
              <a:gd name="connsiteY6" fmla="*/ 601769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4887" h="6861600">
                <a:moveTo>
                  <a:pt x="744887" y="0"/>
                </a:moveTo>
                <a:lnTo>
                  <a:pt x="6474887" y="0"/>
                </a:lnTo>
                <a:lnTo>
                  <a:pt x="6474887" y="6861600"/>
                </a:lnTo>
                <a:lnTo>
                  <a:pt x="0" y="6861600"/>
                </a:lnTo>
                <a:lnTo>
                  <a:pt x="0" y="6851785"/>
                </a:lnTo>
                <a:lnTo>
                  <a:pt x="144566" y="6823232"/>
                </a:lnTo>
                <a:cubicBezTo>
                  <a:pt x="491724" y="6719960"/>
                  <a:pt x="744887" y="6398390"/>
                  <a:pt x="744887" y="6017690"/>
                </a:cubicBez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Tree>
    <p:extLst>
      <p:ext uri="{BB962C8B-B14F-4D97-AF65-F5344CB8AC3E}">
        <p14:creationId xmlns:p14="http://schemas.microsoft.com/office/powerpoint/2010/main" val="12862148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bg1"/>
        </a:solidFill>
        <a:effectLst/>
      </p:bgPr>
    </p:bg>
    <p:spTree>
      <p:nvGrpSpPr>
        <p:cNvPr id="1" name=""/>
        <p:cNvGrpSpPr/>
        <p:nvPr/>
      </p:nvGrpSpPr>
      <p:grpSpPr>
        <a:xfrm>
          <a:off x="0" y="0"/>
          <a:ext cx="0" cy="0"/>
          <a:chOff x="0" y="0"/>
          <a:chExt cx="0" cy="0"/>
        </a:xfrm>
      </p:grpSpPr>
      <p:pic>
        <p:nvPicPr>
          <p:cNvPr id="68" name="Picture 29">
            <a:extLst>
              <a:ext uri="{FF2B5EF4-FFF2-40B4-BE49-F238E27FC236}">
                <a16:creationId xmlns:a16="http://schemas.microsoft.com/office/drawing/2014/main" id="{5875405E-CCCA-5066-A2F0-05D63A785ED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6" y="6169025"/>
            <a:ext cx="1299395" cy="320399"/>
          </a:xfrm>
          <a:prstGeom prst="rect">
            <a:avLst/>
          </a:prstGeom>
        </p:spPr>
      </p:pic>
      <p:sp>
        <p:nvSpPr>
          <p:cNvPr id="11" name="Freeform 10">
            <a:extLst>
              <a:ext uri="{FF2B5EF4-FFF2-40B4-BE49-F238E27FC236}">
                <a16:creationId xmlns:a16="http://schemas.microsoft.com/office/drawing/2014/main" id="{BAC9BEDA-8D5D-B074-13F1-8720C4850339}"/>
              </a:ext>
            </a:extLst>
          </p:cNvPr>
          <p:cNvSpPr/>
          <p:nvPr userDrawn="1"/>
        </p:nvSpPr>
        <p:spPr>
          <a:xfrm rot="10800000">
            <a:off x="6097935" y="0"/>
            <a:ext cx="6094065" cy="6858000"/>
          </a:xfrm>
          <a:custGeom>
            <a:avLst/>
            <a:gdLst>
              <a:gd name="connsiteX0" fmla="*/ 5253764 w 6094065"/>
              <a:gd name="connsiteY0" fmla="*/ 6858000 h 6858000"/>
              <a:gd name="connsiteX1" fmla="*/ 4457700 w 6094065"/>
              <a:gd name="connsiteY1" fmla="*/ 6858000 h 6858000"/>
              <a:gd name="connsiteX2" fmla="*/ 4140200 w 6094065"/>
              <a:gd name="connsiteY2" fmla="*/ 6858000 h 6858000"/>
              <a:gd name="connsiteX3" fmla="*/ 4048382 w 6094065"/>
              <a:gd name="connsiteY3" fmla="*/ 6858000 h 6858000"/>
              <a:gd name="connsiteX4" fmla="*/ 3730882 w 6094065"/>
              <a:gd name="connsiteY4" fmla="*/ 6858000 h 6858000"/>
              <a:gd name="connsiteX5" fmla="*/ 0 w 6094065"/>
              <a:gd name="connsiteY5" fmla="*/ 6858000 h 6858000"/>
              <a:gd name="connsiteX6" fmla="*/ 0 w 6094065"/>
              <a:gd name="connsiteY6" fmla="*/ 0 h 6858000"/>
              <a:gd name="connsiteX7" fmla="*/ 4140200 w 6094065"/>
              <a:gd name="connsiteY7" fmla="*/ 0 h 6858000"/>
              <a:gd name="connsiteX8" fmla="*/ 4457700 w 6094065"/>
              <a:gd name="connsiteY8" fmla="*/ 0 h 6858000"/>
              <a:gd name="connsiteX9" fmla="*/ 6094065 w 6094065"/>
              <a:gd name="connsiteY9" fmla="*/ 0 h 6858000"/>
              <a:gd name="connsiteX10" fmla="*/ 6094065 w 6094065"/>
              <a:gd name="connsiteY10" fmla="*/ 6017690 h 6858000"/>
              <a:gd name="connsiteX11" fmla="*/ 5339671 w 6094065"/>
              <a:gd name="connsiteY11" fmla="*/ 68536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065" h="6858000">
                <a:moveTo>
                  <a:pt x="5253764" y="6858000"/>
                </a:moveTo>
                <a:lnTo>
                  <a:pt x="4457700" y="6858000"/>
                </a:lnTo>
                <a:lnTo>
                  <a:pt x="4140200" y="6858000"/>
                </a:lnTo>
                <a:lnTo>
                  <a:pt x="4048382" y="6858000"/>
                </a:lnTo>
                <a:lnTo>
                  <a:pt x="3730882" y="6858000"/>
                </a:lnTo>
                <a:lnTo>
                  <a:pt x="0" y="6858000"/>
                </a:lnTo>
                <a:lnTo>
                  <a:pt x="0" y="0"/>
                </a:lnTo>
                <a:lnTo>
                  <a:pt x="4140200" y="0"/>
                </a:lnTo>
                <a:lnTo>
                  <a:pt x="4457700" y="0"/>
                </a:lnTo>
                <a:lnTo>
                  <a:pt x="6094065" y="0"/>
                </a:lnTo>
                <a:lnTo>
                  <a:pt x="6094065" y="6017690"/>
                </a:lnTo>
                <a:cubicBezTo>
                  <a:pt x="6094065" y="6452775"/>
                  <a:pt x="5763403" y="6810630"/>
                  <a:pt x="5339671" y="68536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p>
        </p:txBody>
      </p:sp>
      <p:sp>
        <p:nvSpPr>
          <p:cNvPr id="2" name="Title 1"/>
          <p:cNvSpPr>
            <a:spLocks noGrp="1"/>
          </p:cNvSpPr>
          <p:nvPr>
            <p:ph type="ctrTitle" hasCustomPrompt="1"/>
          </p:nvPr>
        </p:nvSpPr>
        <p:spPr>
          <a:xfrm>
            <a:off x="6596063" y="2732087"/>
            <a:ext cx="5094287" cy="3171001"/>
          </a:xfrm>
        </p:spPr>
        <p:txBody>
          <a:bodyPr anchor="t"/>
          <a:lstStyle>
            <a:lvl1pPr algn="l">
              <a:defRPr sz="3200" spc="-150">
                <a:solidFill>
                  <a:schemeClr val="bg1"/>
                </a:solidFill>
              </a:defRPr>
            </a:lvl1pPr>
          </a:lstStyle>
          <a:p>
            <a:r>
              <a:rPr lang="en-GB"/>
              <a:t>Click to add quote</a:t>
            </a:r>
          </a:p>
        </p:txBody>
      </p:sp>
      <p:sp>
        <p:nvSpPr>
          <p:cNvPr id="13" name="Text Placeholder 12">
            <a:extLst>
              <a:ext uri="{FF2B5EF4-FFF2-40B4-BE49-F238E27FC236}">
                <a16:creationId xmlns:a16="http://schemas.microsoft.com/office/drawing/2014/main" id="{73E1AA2A-FE59-26F8-5F42-C972CA502EEA}"/>
              </a:ext>
            </a:extLst>
          </p:cNvPr>
          <p:cNvSpPr>
            <a:spLocks noGrp="1"/>
          </p:cNvSpPr>
          <p:nvPr>
            <p:ph type="body" sz="quarter" idx="19" hasCustomPrompt="1"/>
          </p:nvPr>
        </p:nvSpPr>
        <p:spPr>
          <a:xfrm>
            <a:off x="6596063" y="5943600"/>
            <a:ext cx="5094287" cy="459086"/>
          </a:xfrm>
        </p:spPr>
        <p:txBody>
          <a:bodyPr anchor="b" anchorCtr="0"/>
          <a:lstStyle>
            <a:lvl1pPr marL="0" indent="0">
              <a:lnSpc>
                <a:spcPts val="1300"/>
              </a:lnSpc>
              <a:buFontTx/>
              <a:buNone/>
              <a:defRPr sz="1400">
                <a:solidFill>
                  <a:schemeClr val="bg1"/>
                </a:solidFill>
                <a:latin typeface="+mj-lt"/>
              </a:defRPr>
            </a:lvl1pPr>
            <a:lvl2pPr marL="180000" indent="0">
              <a:buFontTx/>
              <a:buNone/>
              <a:defRPr sz="1400">
                <a:solidFill>
                  <a:schemeClr val="bg1"/>
                </a:solidFill>
                <a:latin typeface="+mj-lt"/>
              </a:defRPr>
            </a:lvl2pPr>
            <a:lvl3pPr marL="360000" indent="0">
              <a:buFontTx/>
              <a:buNone/>
              <a:defRPr sz="1400">
                <a:solidFill>
                  <a:schemeClr val="bg1"/>
                </a:solidFill>
                <a:latin typeface="+mj-lt"/>
              </a:defRPr>
            </a:lvl3pPr>
            <a:lvl4pPr>
              <a:buFontTx/>
              <a:buNone/>
              <a:defRPr sz="1400">
                <a:solidFill>
                  <a:schemeClr val="bg1"/>
                </a:solidFill>
                <a:latin typeface="+mj-lt"/>
              </a:defRPr>
            </a:lvl4pPr>
            <a:lvl5pPr>
              <a:buFontTx/>
              <a:buNone/>
              <a:defRPr sz="1400">
                <a:solidFill>
                  <a:schemeClr val="bg1"/>
                </a:solidFill>
                <a:latin typeface="+mj-lt"/>
              </a:defRPr>
            </a:lvl5pPr>
          </a:lstStyle>
          <a:p>
            <a:pPr lvl="0"/>
            <a:r>
              <a:rPr lang="en-US"/>
              <a:t>Click to add name</a:t>
            </a:r>
            <a:endParaRPr lang="en-001"/>
          </a:p>
        </p:txBody>
      </p:sp>
      <p:sp>
        <p:nvSpPr>
          <p:cNvPr id="15" name="Picture Placeholder 14">
            <a:extLst>
              <a:ext uri="{FF2B5EF4-FFF2-40B4-BE49-F238E27FC236}">
                <a16:creationId xmlns:a16="http://schemas.microsoft.com/office/drawing/2014/main" id="{DE1E942D-3262-AEC6-B74F-67FE71EA3784}"/>
              </a:ext>
            </a:extLst>
          </p:cNvPr>
          <p:cNvSpPr>
            <a:spLocks noGrp="1"/>
          </p:cNvSpPr>
          <p:nvPr>
            <p:ph type="pic" sz="quarter" idx="13" hasCustomPrompt="1"/>
          </p:nvPr>
        </p:nvSpPr>
        <p:spPr>
          <a:xfrm>
            <a:off x="-1" y="0"/>
            <a:ext cx="6569102" cy="6861600"/>
          </a:xfrm>
          <a:custGeom>
            <a:avLst/>
            <a:gdLst>
              <a:gd name="connsiteX0" fmla="*/ 1278394 w 6569102"/>
              <a:gd name="connsiteY0" fmla="*/ 6290509 h 6861600"/>
              <a:gd name="connsiteX1" fmla="*/ 1341368 w 6569102"/>
              <a:gd name="connsiteY1" fmla="*/ 6290509 h 6861600"/>
              <a:gd name="connsiteX2" fmla="*/ 1341368 w 6569102"/>
              <a:gd name="connsiteY2" fmla="*/ 6323884 h 6861600"/>
              <a:gd name="connsiteX3" fmla="*/ 1278394 w 6569102"/>
              <a:gd name="connsiteY3" fmla="*/ 6323884 h 6861600"/>
              <a:gd name="connsiteX4" fmla="*/ 1015853 w 6569102"/>
              <a:gd name="connsiteY4" fmla="*/ 6289174 h 6861600"/>
              <a:gd name="connsiteX5" fmla="*/ 1038027 w 6569102"/>
              <a:gd name="connsiteY5" fmla="*/ 6343909 h 6861600"/>
              <a:gd name="connsiteX6" fmla="*/ 993679 w 6569102"/>
              <a:gd name="connsiteY6" fmla="*/ 6343909 h 6861600"/>
              <a:gd name="connsiteX7" fmla="*/ 1542264 w 6569102"/>
              <a:gd name="connsiteY7" fmla="*/ 6265589 h 6861600"/>
              <a:gd name="connsiteX8" fmla="*/ 1542264 w 6569102"/>
              <a:gd name="connsiteY8" fmla="*/ 6393304 h 6861600"/>
              <a:gd name="connsiteX9" fmla="*/ 1572864 w 6569102"/>
              <a:gd name="connsiteY9" fmla="*/ 6393304 h 6861600"/>
              <a:gd name="connsiteX10" fmla="*/ 1572864 w 6569102"/>
              <a:gd name="connsiteY10" fmla="*/ 6334564 h 6861600"/>
              <a:gd name="connsiteX11" fmla="*/ 1630517 w 6569102"/>
              <a:gd name="connsiteY11" fmla="*/ 6393304 h 6861600"/>
              <a:gd name="connsiteX12" fmla="*/ 1672647 w 6569102"/>
              <a:gd name="connsiteY12" fmla="*/ 6393304 h 6861600"/>
              <a:gd name="connsiteX13" fmla="*/ 1603021 w 6569102"/>
              <a:gd name="connsiteY13" fmla="*/ 6325219 h 6861600"/>
              <a:gd name="connsiteX14" fmla="*/ 1669986 w 6569102"/>
              <a:gd name="connsiteY14" fmla="*/ 6265589 h 6861600"/>
              <a:gd name="connsiteX15" fmla="*/ 1629186 w 6569102"/>
              <a:gd name="connsiteY15" fmla="*/ 6265589 h 6861600"/>
              <a:gd name="connsiteX16" fmla="*/ 1572864 w 6569102"/>
              <a:gd name="connsiteY16" fmla="*/ 6317209 h 6861600"/>
              <a:gd name="connsiteX17" fmla="*/ 1572864 w 6569102"/>
              <a:gd name="connsiteY17" fmla="*/ 6265589 h 6861600"/>
              <a:gd name="connsiteX18" fmla="*/ 1248237 w 6569102"/>
              <a:gd name="connsiteY18" fmla="*/ 6265589 h 6861600"/>
              <a:gd name="connsiteX19" fmla="*/ 1248237 w 6569102"/>
              <a:gd name="connsiteY19" fmla="*/ 6393304 h 6861600"/>
              <a:gd name="connsiteX20" fmla="*/ 1278394 w 6569102"/>
              <a:gd name="connsiteY20" fmla="*/ 6393304 h 6861600"/>
              <a:gd name="connsiteX21" fmla="*/ 1278394 w 6569102"/>
              <a:gd name="connsiteY21" fmla="*/ 6349249 h 6861600"/>
              <a:gd name="connsiteX22" fmla="*/ 1311211 w 6569102"/>
              <a:gd name="connsiteY22" fmla="*/ 6349249 h 6861600"/>
              <a:gd name="connsiteX23" fmla="*/ 1338707 w 6569102"/>
              <a:gd name="connsiteY23" fmla="*/ 6393304 h 6861600"/>
              <a:gd name="connsiteX24" fmla="*/ 1371525 w 6569102"/>
              <a:gd name="connsiteY24" fmla="*/ 6393304 h 6861600"/>
              <a:gd name="connsiteX25" fmla="*/ 1342698 w 6569102"/>
              <a:gd name="connsiteY25" fmla="*/ 6349249 h 6861600"/>
              <a:gd name="connsiteX26" fmla="*/ 1345359 w 6569102"/>
              <a:gd name="connsiteY26" fmla="*/ 6349249 h 6861600"/>
              <a:gd name="connsiteX27" fmla="*/ 1370194 w 6569102"/>
              <a:gd name="connsiteY27" fmla="*/ 6329224 h 6861600"/>
              <a:gd name="connsiteX28" fmla="*/ 1370194 w 6569102"/>
              <a:gd name="connsiteY28" fmla="*/ 6286949 h 6861600"/>
              <a:gd name="connsiteX29" fmla="*/ 1349351 w 6569102"/>
              <a:gd name="connsiteY29" fmla="*/ 6265589 h 6861600"/>
              <a:gd name="connsiteX30" fmla="*/ 1104992 w 6569102"/>
              <a:gd name="connsiteY30" fmla="*/ 6265589 h 6861600"/>
              <a:gd name="connsiteX31" fmla="*/ 1104992 w 6569102"/>
              <a:gd name="connsiteY31" fmla="*/ 6393304 h 6861600"/>
              <a:gd name="connsiteX32" fmla="*/ 1226062 w 6569102"/>
              <a:gd name="connsiteY32" fmla="*/ 6393304 h 6861600"/>
              <a:gd name="connsiteX33" fmla="*/ 1226062 w 6569102"/>
              <a:gd name="connsiteY33" fmla="*/ 6367939 h 6861600"/>
              <a:gd name="connsiteX34" fmla="*/ 1133818 w 6569102"/>
              <a:gd name="connsiteY34" fmla="*/ 6367939 h 6861600"/>
              <a:gd name="connsiteX35" fmla="*/ 1133818 w 6569102"/>
              <a:gd name="connsiteY35" fmla="*/ 6341239 h 6861600"/>
              <a:gd name="connsiteX36" fmla="*/ 1212758 w 6569102"/>
              <a:gd name="connsiteY36" fmla="*/ 6341239 h 6861600"/>
              <a:gd name="connsiteX37" fmla="*/ 1212758 w 6569102"/>
              <a:gd name="connsiteY37" fmla="*/ 6315874 h 6861600"/>
              <a:gd name="connsiteX38" fmla="*/ 1133818 w 6569102"/>
              <a:gd name="connsiteY38" fmla="*/ 6315874 h 6861600"/>
              <a:gd name="connsiteX39" fmla="*/ 1133818 w 6569102"/>
              <a:gd name="connsiteY39" fmla="*/ 6290509 h 6861600"/>
              <a:gd name="connsiteX40" fmla="*/ 1224732 w 6569102"/>
              <a:gd name="connsiteY40" fmla="*/ 6290509 h 6861600"/>
              <a:gd name="connsiteX41" fmla="*/ 1224732 w 6569102"/>
              <a:gd name="connsiteY41" fmla="*/ 6265589 h 6861600"/>
              <a:gd name="connsiteX42" fmla="*/ 995896 w 6569102"/>
              <a:gd name="connsiteY42" fmla="*/ 6265589 h 6861600"/>
              <a:gd name="connsiteX43" fmla="*/ 939574 w 6569102"/>
              <a:gd name="connsiteY43" fmla="*/ 6393304 h 6861600"/>
              <a:gd name="connsiteX44" fmla="*/ 972392 w 6569102"/>
              <a:gd name="connsiteY44" fmla="*/ 6393304 h 6861600"/>
              <a:gd name="connsiteX45" fmla="*/ 983035 w 6569102"/>
              <a:gd name="connsiteY45" fmla="*/ 6367939 h 6861600"/>
              <a:gd name="connsiteX46" fmla="*/ 1048670 w 6569102"/>
              <a:gd name="connsiteY46" fmla="*/ 6367939 h 6861600"/>
              <a:gd name="connsiteX47" fmla="*/ 1060644 w 6569102"/>
              <a:gd name="connsiteY47" fmla="*/ 6393304 h 6861600"/>
              <a:gd name="connsiteX48" fmla="*/ 1092131 w 6569102"/>
              <a:gd name="connsiteY48" fmla="*/ 6393304 h 6861600"/>
              <a:gd name="connsiteX49" fmla="*/ 1035366 w 6569102"/>
              <a:gd name="connsiteY49" fmla="*/ 6265589 h 6861600"/>
              <a:gd name="connsiteX50" fmla="*/ 778147 w 6569102"/>
              <a:gd name="connsiteY50" fmla="*/ 6265589 h 6861600"/>
              <a:gd name="connsiteX51" fmla="*/ 778147 w 6569102"/>
              <a:gd name="connsiteY51" fmla="*/ 6393304 h 6861600"/>
              <a:gd name="connsiteX52" fmla="*/ 805643 w 6569102"/>
              <a:gd name="connsiteY52" fmla="*/ 6393304 h 6861600"/>
              <a:gd name="connsiteX53" fmla="*/ 805643 w 6569102"/>
              <a:gd name="connsiteY53" fmla="*/ 6319879 h 6861600"/>
              <a:gd name="connsiteX54" fmla="*/ 838460 w 6569102"/>
              <a:gd name="connsiteY54" fmla="*/ 6393304 h 6861600"/>
              <a:gd name="connsiteX55" fmla="*/ 867287 w 6569102"/>
              <a:gd name="connsiteY55" fmla="*/ 6393304 h 6861600"/>
              <a:gd name="connsiteX56" fmla="*/ 900104 w 6569102"/>
              <a:gd name="connsiteY56" fmla="*/ 6318544 h 6861600"/>
              <a:gd name="connsiteX57" fmla="*/ 900104 w 6569102"/>
              <a:gd name="connsiteY57" fmla="*/ 6393304 h 6861600"/>
              <a:gd name="connsiteX58" fmla="*/ 927600 w 6569102"/>
              <a:gd name="connsiteY58" fmla="*/ 6393304 h 6861600"/>
              <a:gd name="connsiteX59" fmla="*/ 927600 w 6569102"/>
              <a:gd name="connsiteY59" fmla="*/ 6265589 h 6861600"/>
              <a:gd name="connsiteX60" fmla="*/ 894782 w 6569102"/>
              <a:gd name="connsiteY60" fmla="*/ 6265589 h 6861600"/>
              <a:gd name="connsiteX61" fmla="*/ 852652 w 6569102"/>
              <a:gd name="connsiteY61" fmla="*/ 6361264 h 6861600"/>
              <a:gd name="connsiteX62" fmla="*/ 810965 w 6569102"/>
              <a:gd name="connsiteY62" fmla="*/ 6265589 h 6861600"/>
              <a:gd name="connsiteX63" fmla="*/ 1414986 w 6569102"/>
              <a:gd name="connsiteY63" fmla="*/ 6265144 h 6861600"/>
              <a:gd name="connsiteX64" fmla="*/ 1395472 w 6569102"/>
              <a:gd name="connsiteY64" fmla="*/ 6285169 h 6861600"/>
              <a:gd name="connsiteX65" fmla="*/ 1395472 w 6569102"/>
              <a:gd name="connsiteY65" fmla="*/ 6322549 h 6861600"/>
              <a:gd name="connsiteX66" fmla="*/ 1414986 w 6569102"/>
              <a:gd name="connsiteY66" fmla="*/ 6341239 h 6861600"/>
              <a:gd name="connsiteX67" fmla="*/ 1485942 w 6569102"/>
              <a:gd name="connsiteY67" fmla="*/ 6341239 h 6861600"/>
              <a:gd name="connsiteX68" fmla="*/ 1485942 w 6569102"/>
              <a:gd name="connsiteY68" fmla="*/ 6367939 h 6861600"/>
              <a:gd name="connsiteX69" fmla="*/ 1424299 w 6569102"/>
              <a:gd name="connsiteY69" fmla="*/ 6367939 h 6861600"/>
              <a:gd name="connsiteX70" fmla="*/ 1424299 w 6569102"/>
              <a:gd name="connsiteY70" fmla="*/ 6358594 h 6861600"/>
              <a:gd name="connsiteX71" fmla="*/ 1394142 w 6569102"/>
              <a:gd name="connsiteY71" fmla="*/ 6358594 h 6861600"/>
              <a:gd name="connsiteX72" fmla="*/ 1394142 w 6569102"/>
              <a:gd name="connsiteY72" fmla="*/ 6374614 h 6861600"/>
              <a:gd name="connsiteX73" fmla="*/ 1413655 w 6569102"/>
              <a:gd name="connsiteY73" fmla="*/ 6393304 h 6861600"/>
              <a:gd name="connsiteX74" fmla="*/ 1424299 w 6569102"/>
              <a:gd name="connsiteY74" fmla="*/ 6393304 h 6861600"/>
              <a:gd name="connsiteX75" fmla="*/ 1495256 w 6569102"/>
              <a:gd name="connsiteY75" fmla="*/ 6393304 h 6861600"/>
              <a:gd name="connsiteX76" fmla="*/ 1514769 w 6569102"/>
              <a:gd name="connsiteY76" fmla="*/ 6373279 h 6861600"/>
              <a:gd name="connsiteX77" fmla="*/ 1514769 w 6569102"/>
              <a:gd name="connsiteY77" fmla="*/ 6337234 h 6861600"/>
              <a:gd name="connsiteX78" fmla="*/ 1495256 w 6569102"/>
              <a:gd name="connsiteY78" fmla="*/ 6315874 h 6861600"/>
              <a:gd name="connsiteX79" fmla="*/ 1424299 w 6569102"/>
              <a:gd name="connsiteY79" fmla="*/ 6315874 h 6861600"/>
              <a:gd name="connsiteX80" fmla="*/ 1424299 w 6569102"/>
              <a:gd name="connsiteY80" fmla="*/ 6290509 h 6861600"/>
              <a:gd name="connsiteX81" fmla="*/ 1485942 w 6569102"/>
              <a:gd name="connsiteY81" fmla="*/ 6290509 h 6861600"/>
              <a:gd name="connsiteX82" fmla="*/ 1485942 w 6569102"/>
              <a:gd name="connsiteY82" fmla="*/ 6301189 h 6861600"/>
              <a:gd name="connsiteX83" fmla="*/ 1514769 w 6569102"/>
              <a:gd name="connsiteY83" fmla="*/ 6301189 h 6861600"/>
              <a:gd name="connsiteX84" fmla="*/ 1514769 w 6569102"/>
              <a:gd name="connsiteY84" fmla="*/ 6286504 h 6861600"/>
              <a:gd name="connsiteX85" fmla="*/ 1496586 w 6569102"/>
              <a:gd name="connsiteY85" fmla="*/ 6265144 h 6861600"/>
              <a:gd name="connsiteX86" fmla="*/ 418041 w 6569102"/>
              <a:gd name="connsiteY86" fmla="*/ 6184154 h 6861600"/>
              <a:gd name="connsiteX87" fmla="*/ 386554 w 6569102"/>
              <a:gd name="connsiteY87" fmla="*/ 6217529 h 6861600"/>
              <a:gd name="connsiteX88" fmla="*/ 386554 w 6569102"/>
              <a:gd name="connsiteY88" fmla="*/ 6441363 h 6861600"/>
              <a:gd name="connsiteX89" fmla="*/ 418041 w 6569102"/>
              <a:gd name="connsiteY89" fmla="*/ 6474738 h 6861600"/>
              <a:gd name="connsiteX90" fmla="*/ 624260 w 6569102"/>
              <a:gd name="connsiteY90" fmla="*/ 6474738 h 6861600"/>
              <a:gd name="connsiteX91" fmla="*/ 657077 w 6569102"/>
              <a:gd name="connsiteY91" fmla="*/ 6441363 h 6861600"/>
              <a:gd name="connsiteX92" fmla="*/ 657077 w 6569102"/>
              <a:gd name="connsiteY92" fmla="*/ 6431745 h 6861600"/>
              <a:gd name="connsiteX93" fmla="*/ 657077 w 6569102"/>
              <a:gd name="connsiteY93" fmla="*/ 6406389 h 6861600"/>
              <a:gd name="connsiteX94" fmla="*/ 657077 w 6569102"/>
              <a:gd name="connsiteY94" fmla="*/ 6370541 h 6861600"/>
              <a:gd name="connsiteX95" fmla="*/ 657077 w 6569102"/>
              <a:gd name="connsiteY95" fmla="*/ 6329446 h 6861600"/>
              <a:gd name="connsiteX96" fmla="*/ 657077 w 6569102"/>
              <a:gd name="connsiteY96" fmla="*/ 6288352 h 6861600"/>
              <a:gd name="connsiteX97" fmla="*/ 657077 w 6569102"/>
              <a:gd name="connsiteY97" fmla="*/ 6252503 h 6861600"/>
              <a:gd name="connsiteX98" fmla="*/ 657077 w 6569102"/>
              <a:gd name="connsiteY98" fmla="*/ 6227147 h 6861600"/>
              <a:gd name="connsiteX99" fmla="*/ 657077 w 6569102"/>
              <a:gd name="connsiteY99" fmla="*/ 6217529 h 6861600"/>
              <a:gd name="connsiteX100" fmla="*/ 624260 w 6569102"/>
              <a:gd name="connsiteY100" fmla="*/ 6184154 h 6861600"/>
              <a:gd name="connsiteX101" fmla="*/ 0 w 6569102"/>
              <a:gd name="connsiteY101" fmla="*/ 0 h 6861600"/>
              <a:gd name="connsiteX102" fmla="*/ 6569102 w 6569102"/>
              <a:gd name="connsiteY102" fmla="*/ 0 h 6861600"/>
              <a:gd name="connsiteX103" fmla="*/ 6483195 w 6569102"/>
              <a:gd name="connsiteY103" fmla="*/ 4338 h 6861600"/>
              <a:gd name="connsiteX104" fmla="*/ 5728801 w 6569102"/>
              <a:gd name="connsiteY104" fmla="*/ 840310 h 6861600"/>
              <a:gd name="connsiteX105" fmla="*/ 5728801 w 6569102"/>
              <a:gd name="connsiteY105" fmla="*/ 6861600 h 6861600"/>
              <a:gd name="connsiteX106" fmla="*/ 0 w 6569102"/>
              <a:gd name="connsiteY106"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569102" h="6861600">
                <a:moveTo>
                  <a:pt x="1278394" y="6290509"/>
                </a:moveTo>
                <a:lnTo>
                  <a:pt x="1341368" y="6290509"/>
                </a:lnTo>
                <a:lnTo>
                  <a:pt x="1341368" y="6323884"/>
                </a:lnTo>
                <a:lnTo>
                  <a:pt x="1278394" y="6323884"/>
                </a:lnTo>
                <a:close/>
                <a:moveTo>
                  <a:pt x="1015853" y="6289174"/>
                </a:moveTo>
                <a:lnTo>
                  <a:pt x="1038027" y="6343909"/>
                </a:lnTo>
                <a:lnTo>
                  <a:pt x="993679" y="6343909"/>
                </a:lnTo>
                <a:close/>
                <a:moveTo>
                  <a:pt x="1542264" y="6265589"/>
                </a:moveTo>
                <a:lnTo>
                  <a:pt x="1542264" y="6393304"/>
                </a:lnTo>
                <a:lnTo>
                  <a:pt x="1572864" y="6393304"/>
                </a:lnTo>
                <a:lnTo>
                  <a:pt x="1572864" y="6334564"/>
                </a:lnTo>
                <a:lnTo>
                  <a:pt x="1630517" y="6393304"/>
                </a:lnTo>
                <a:lnTo>
                  <a:pt x="1672647" y="6393304"/>
                </a:lnTo>
                <a:lnTo>
                  <a:pt x="1603021" y="6325219"/>
                </a:lnTo>
                <a:lnTo>
                  <a:pt x="1669986" y="6265589"/>
                </a:lnTo>
                <a:lnTo>
                  <a:pt x="1629186" y="6265589"/>
                </a:lnTo>
                <a:lnTo>
                  <a:pt x="1572864" y="6317209"/>
                </a:lnTo>
                <a:lnTo>
                  <a:pt x="1572864" y="6265589"/>
                </a:lnTo>
                <a:close/>
                <a:moveTo>
                  <a:pt x="1248237" y="6265589"/>
                </a:moveTo>
                <a:lnTo>
                  <a:pt x="1248237" y="6393304"/>
                </a:lnTo>
                <a:lnTo>
                  <a:pt x="1278394" y="6393304"/>
                </a:lnTo>
                <a:lnTo>
                  <a:pt x="1278394" y="6349249"/>
                </a:lnTo>
                <a:lnTo>
                  <a:pt x="1311211" y="6349249"/>
                </a:lnTo>
                <a:lnTo>
                  <a:pt x="1338707" y="6393304"/>
                </a:lnTo>
                <a:lnTo>
                  <a:pt x="1371525" y="6393304"/>
                </a:lnTo>
                <a:lnTo>
                  <a:pt x="1342698" y="6349249"/>
                </a:lnTo>
                <a:lnTo>
                  <a:pt x="1345359" y="6349249"/>
                </a:lnTo>
                <a:cubicBezTo>
                  <a:pt x="1362211" y="6349249"/>
                  <a:pt x="1370194" y="6339904"/>
                  <a:pt x="1370194" y="6329224"/>
                </a:cubicBezTo>
                <a:lnTo>
                  <a:pt x="1370194" y="6286949"/>
                </a:lnTo>
                <a:cubicBezTo>
                  <a:pt x="1370194" y="6273599"/>
                  <a:pt x="1362211" y="6265589"/>
                  <a:pt x="1349351" y="6265589"/>
                </a:cubicBezTo>
                <a:close/>
                <a:moveTo>
                  <a:pt x="1104992" y="6265589"/>
                </a:moveTo>
                <a:lnTo>
                  <a:pt x="1104992" y="6393304"/>
                </a:lnTo>
                <a:lnTo>
                  <a:pt x="1226062" y="6393304"/>
                </a:lnTo>
                <a:lnTo>
                  <a:pt x="1226062" y="6367939"/>
                </a:lnTo>
                <a:lnTo>
                  <a:pt x="1133818" y="6367939"/>
                </a:lnTo>
                <a:lnTo>
                  <a:pt x="1133818" y="6341239"/>
                </a:lnTo>
                <a:lnTo>
                  <a:pt x="1212758" y="6341239"/>
                </a:lnTo>
                <a:lnTo>
                  <a:pt x="1212758" y="6315874"/>
                </a:lnTo>
                <a:lnTo>
                  <a:pt x="1133818" y="6315874"/>
                </a:lnTo>
                <a:lnTo>
                  <a:pt x="1133818" y="6290509"/>
                </a:lnTo>
                <a:lnTo>
                  <a:pt x="1224732" y="6290509"/>
                </a:lnTo>
                <a:lnTo>
                  <a:pt x="1224732" y="6265589"/>
                </a:lnTo>
                <a:close/>
                <a:moveTo>
                  <a:pt x="995896" y="6265589"/>
                </a:moveTo>
                <a:lnTo>
                  <a:pt x="939574" y="6393304"/>
                </a:lnTo>
                <a:lnTo>
                  <a:pt x="972392" y="6393304"/>
                </a:lnTo>
                <a:lnTo>
                  <a:pt x="983035" y="6367939"/>
                </a:lnTo>
                <a:lnTo>
                  <a:pt x="1048670" y="6367939"/>
                </a:lnTo>
                <a:lnTo>
                  <a:pt x="1060644" y="6393304"/>
                </a:lnTo>
                <a:lnTo>
                  <a:pt x="1092131" y="6393304"/>
                </a:lnTo>
                <a:lnTo>
                  <a:pt x="1035366" y="6265589"/>
                </a:lnTo>
                <a:close/>
                <a:moveTo>
                  <a:pt x="778147" y="6265589"/>
                </a:moveTo>
                <a:lnTo>
                  <a:pt x="778147" y="6393304"/>
                </a:lnTo>
                <a:lnTo>
                  <a:pt x="805643" y="6393304"/>
                </a:lnTo>
                <a:lnTo>
                  <a:pt x="805643" y="6319879"/>
                </a:lnTo>
                <a:lnTo>
                  <a:pt x="838460" y="6393304"/>
                </a:lnTo>
                <a:lnTo>
                  <a:pt x="867287" y="6393304"/>
                </a:lnTo>
                <a:lnTo>
                  <a:pt x="900104" y="6318544"/>
                </a:lnTo>
                <a:lnTo>
                  <a:pt x="900104" y="6393304"/>
                </a:lnTo>
                <a:lnTo>
                  <a:pt x="927600" y="6393304"/>
                </a:lnTo>
                <a:lnTo>
                  <a:pt x="927600" y="6265589"/>
                </a:lnTo>
                <a:lnTo>
                  <a:pt x="894782" y="6265589"/>
                </a:lnTo>
                <a:lnTo>
                  <a:pt x="852652" y="6361264"/>
                </a:lnTo>
                <a:lnTo>
                  <a:pt x="810965" y="6265589"/>
                </a:lnTo>
                <a:close/>
                <a:moveTo>
                  <a:pt x="1414986" y="6265144"/>
                </a:moveTo>
                <a:cubicBezTo>
                  <a:pt x="1404786" y="6265144"/>
                  <a:pt x="1395472" y="6273154"/>
                  <a:pt x="1395472" y="6285169"/>
                </a:cubicBezTo>
                <a:lnTo>
                  <a:pt x="1395472" y="6322549"/>
                </a:lnTo>
                <a:cubicBezTo>
                  <a:pt x="1395472" y="6333229"/>
                  <a:pt x="1403012" y="6341239"/>
                  <a:pt x="1414986" y="6341239"/>
                </a:cubicBezTo>
                <a:lnTo>
                  <a:pt x="1485942" y="6341239"/>
                </a:lnTo>
                <a:lnTo>
                  <a:pt x="1485942" y="6367939"/>
                </a:lnTo>
                <a:lnTo>
                  <a:pt x="1424299" y="6367939"/>
                </a:lnTo>
                <a:lnTo>
                  <a:pt x="1424299" y="6358594"/>
                </a:lnTo>
                <a:lnTo>
                  <a:pt x="1394142" y="6358594"/>
                </a:lnTo>
                <a:lnTo>
                  <a:pt x="1394142" y="6374614"/>
                </a:lnTo>
                <a:cubicBezTo>
                  <a:pt x="1394142" y="6385294"/>
                  <a:pt x="1400351" y="6393304"/>
                  <a:pt x="1413655" y="6393304"/>
                </a:cubicBezTo>
                <a:lnTo>
                  <a:pt x="1424299" y="6393304"/>
                </a:lnTo>
                <a:lnTo>
                  <a:pt x="1495256" y="6393304"/>
                </a:lnTo>
                <a:cubicBezTo>
                  <a:pt x="1508116" y="6393304"/>
                  <a:pt x="1514769" y="6385294"/>
                  <a:pt x="1514769" y="6373279"/>
                </a:cubicBezTo>
                <a:lnTo>
                  <a:pt x="1514769" y="6337234"/>
                </a:lnTo>
                <a:cubicBezTo>
                  <a:pt x="1514769" y="6323884"/>
                  <a:pt x="1505899" y="6315874"/>
                  <a:pt x="1495256" y="6315874"/>
                </a:cubicBezTo>
                <a:lnTo>
                  <a:pt x="1424299" y="6315874"/>
                </a:lnTo>
                <a:lnTo>
                  <a:pt x="1424299" y="6290509"/>
                </a:lnTo>
                <a:lnTo>
                  <a:pt x="1485942" y="6290509"/>
                </a:lnTo>
                <a:lnTo>
                  <a:pt x="1485942" y="6301189"/>
                </a:lnTo>
                <a:lnTo>
                  <a:pt x="1514769" y="6301189"/>
                </a:lnTo>
                <a:lnTo>
                  <a:pt x="1514769" y="6286504"/>
                </a:lnTo>
                <a:cubicBezTo>
                  <a:pt x="1514769" y="6273154"/>
                  <a:pt x="1507230" y="6265144"/>
                  <a:pt x="1496586" y="6265144"/>
                </a:cubicBezTo>
                <a:close/>
                <a:moveTo>
                  <a:pt x="418041" y="6184154"/>
                </a:moveTo>
                <a:cubicBezTo>
                  <a:pt x="401189" y="6184154"/>
                  <a:pt x="386554" y="6198839"/>
                  <a:pt x="386554" y="6217529"/>
                </a:cubicBezTo>
                <a:lnTo>
                  <a:pt x="386554" y="6441363"/>
                </a:lnTo>
                <a:cubicBezTo>
                  <a:pt x="386554" y="6460053"/>
                  <a:pt x="401189" y="6474738"/>
                  <a:pt x="418041" y="6474738"/>
                </a:cubicBezTo>
                <a:lnTo>
                  <a:pt x="624260" y="6474738"/>
                </a:lnTo>
                <a:cubicBezTo>
                  <a:pt x="642442" y="6474738"/>
                  <a:pt x="657077" y="6460053"/>
                  <a:pt x="657077" y="6441363"/>
                </a:cubicBezTo>
                <a:lnTo>
                  <a:pt x="657077" y="6431745"/>
                </a:lnTo>
                <a:lnTo>
                  <a:pt x="657077" y="6406389"/>
                </a:lnTo>
                <a:lnTo>
                  <a:pt x="657077" y="6370541"/>
                </a:lnTo>
                <a:lnTo>
                  <a:pt x="657077" y="6329446"/>
                </a:lnTo>
                <a:lnTo>
                  <a:pt x="657077" y="6288352"/>
                </a:lnTo>
                <a:lnTo>
                  <a:pt x="657077" y="6252503"/>
                </a:lnTo>
                <a:lnTo>
                  <a:pt x="657077" y="6227147"/>
                </a:lnTo>
                <a:lnTo>
                  <a:pt x="657077" y="6217529"/>
                </a:lnTo>
                <a:cubicBezTo>
                  <a:pt x="657077" y="6198839"/>
                  <a:pt x="642442" y="6184154"/>
                  <a:pt x="624260" y="6184154"/>
                </a:cubicBezTo>
                <a:close/>
                <a:moveTo>
                  <a:pt x="0" y="0"/>
                </a:moveTo>
                <a:lnTo>
                  <a:pt x="6569102" y="0"/>
                </a:lnTo>
                <a:lnTo>
                  <a:pt x="6483195" y="4338"/>
                </a:lnTo>
                <a:cubicBezTo>
                  <a:pt x="6059463" y="47370"/>
                  <a:pt x="5728801" y="405225"/>
                  <a:pt x="5728801" y="840310"/>
                </a:cubicBezTo>
                <a:lnTo>
                  <a:pt x="5728801"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Tree>
    <p:extLst>
      <p:ext uri="{BB962C8B-B14F-4D97-AF65-F5344CB8AC3E}">
        <p14:creationId xmlns:p14="http://schemas.microsoft.com/office/powerpoint/2010/main" val="17088249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chemeClr val="accent1"/>
        </a:solidFill>
        <a:effectLst/>
      </p:bgPr>
    </p:bg>
    <p:spTree>
      <p:nvGrpSpPr>
        <p:cNvPr id="1" name=""/>
        <p:cNvGrpSpPr/>
        <p:nvPr/>
      </p:nvGrpSpPr>
      <p:grpSpPr>
        <a:xfrm>
          <a:off x="0" y="0"/>
          <a:ext cx="0" cy="0"/>
          <a:chOff x="0" y="0"/>
          <a:chExt cx="0" cy="0"/>
        </a:xfrm>
      </p:grpSpPr>
      <p:pic>
        <p:nvPicPr>
          <p:cNvPr id="29" name="Picture 29">
            <a:extLst>
              <a:ext uri="{FF2B5EF4-FFF2-40B4-BE49-F238E27FC236}">
                <a16:creationId xmlns:a16="http://schemas.microsoft.com/office/drawing/2014/main" id="{3E23ADE3-778B-3358-EA10-60B66B35AF1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6" y="6169025"/>
            <a:ext cx="1299395" cy="320399"/>
          </a:xfrm>
          <a:prstGeom prst="rect">
            <a:avLst/>
          </a:prstGeom>
        </p:spPr>
      </p:pic>
      <p:sp>
        <p:nvSpPr>
          <p:cNvPr id="10" name="Picture Placeholder 9">
            <a:extLst>
              <a:ext uri="{FF2B5EF4-FFF2-40B4-BE49-F238E27FC236}">
                <a16:creationId xmlns:a16="http://schemas.microsoft.com/office/drawing/2014/main" id="{CE4B631B-DA20-B0A6-C2DA-EECD5D93854F}"/>
              </a:ext>
            </a:extLst>
          </p:cNvPr>
          <p:cNvSpPr>
            <a:spLocks noGrp="1"/>
          </p:cNvSpPr>
          <p:nvPr>
            <p:ph type="pic" sz="quarter" idx="13" hasCustomPrompt="1"/>
          </p:nvPr>
        </p:nvSpPr>
        <p:spPr>
          <a:xfrm>
            <a:off x="-1" y="0"/>
            <a:ext cx="6569102" cy="6861600"/>
          </a:xfrm>
          <a:custGeom>
            <a:avLst/>
            <a:gdLst>
              <a:gd name="connsiteX0" fmla="*/ 1278394 w 6569102"/>
              <a:gd name="connsiteY0" fmla="*/ 6290509 h 6861600"/>
              <a:gd name="connsiteX1" fmla="*/ 1341368 w 6569102"/>
              <a:gd name="connsiteY1" fmla="*/ 6290509 h 6861600"/>
              <a:gd name="connsiteX2" fmla="*/ 1341368 w 6569102"/>
              <a:gd name="connsiteY2" fmla="*/ 6323884 h 6861600"/>
              <a:gd name="connsiteX3" fmla="*/ 1278394 w 6569102"/>
              <a:gd name="connsiteY3" fmla="*/ 6323884 h 6861600"/>
              <a:gd name="connsiteX4" fmla="*/ 1015853 w 6569102"/>
              <a:gd name="connsiteY4" fmla="*/ 6289174 h 6861600"/>
              <a:gd name="connsiteX5" fmla="*/ 1038027 w 6569102"/>
              <a:gd name="connsiteY5" fmla="*/ 6343909 h 6861600"/>
              <a:gd name="connsiteX6" fmla="*/ 993679 w 6569102"/>
              <a:gd name="connsiteY6" fmla="*/ 6343909 h 6861600"/>
              <a:gd name="connsiteX7" fmla="*/ 1542264 w 6569102"/>
              <a:gd name="connsiteY7" fmla="*/ 6265589 h 6861600"/>
              <a:gd name="connsiteX8" fmla="*/ 1542264 w 6569102"/>
              <a:gd name="connsiteY8" fmla="*/ 6393304 h 6861600"/>
              <a:gd name="connsiteX9" fmla="*/ 1572864 w 6569102"/>
              <a:gd name="connsiteY9" fmla="*/ 6393304 h 6861600"/>
              <a:gd name="connsiteX10" fmla="*/ 1572864 w 6569102"/>
              <a:gd name="connsiteY10" fmla="*/ 6334564 h 6861600"/>
              <a:gd name="connsiteX11" fmla="*/ 1630517 w 6569102"/>
              <a:gd name="connsiteY11" fmla="*/ 6393304 h 6861600"/>
              <a:gd name="connsiteX12" fmla="*/ 1672647 w 6569102"/>
              <a:gd name="connsiteY12" fmla="*/ 6393304 h 6861600"/>
              <a:gd name="connsiteX13" fmla="*/ 1603021 w 6569102"/>
              <a:gd name="connsiteY13" fmla="*/ 6325219 h 6861600"/>
              <a:gd name="connsiteX14" fmla="*/ 1669986 w 6569102"/>
              <a:gd name="connsiteY14" fmla="*/ 6265589 h 6861600"/>
              <a:gd name="connsiteX15" fmla="*/ 1629186 w 6569102"/>
              <a:gd name="connsiteY15" fmla="*/ 6265589 h 6861600"/>
              <a:gd name="connsiteX16" fmla="*/ 1572864 w 6569102"/>
              <a:gd name="connsiteY16" fmla="*/ 6317209 h 6861600"/>
              <a:gd name="connsiteX17" fmla="*/ 1572864 w 6569102"/>
              <a:gd name="connsiteY17" fmla="*/ 6265589 h 6861600"/>
              <a:gd name="connsiteX18" fmla="*/ 1248237 w 6569102"/>
              <a:gd name="connsiteY18" fmla="*/ 6265589 h 6861600"/>
              <a:gd name="connsiteX19" fmla="*/ 1248237 w 6569102"/>
              <a:gd name="connsiteY19" fmla="*/ 6393304 h 6861600"/>
              <a:gd name="connsiteX20" fmla="*/ 1278394 w 6569102"/>
              <a:gd name="connsiteY20" fmla="*/ 6393304 h 6861600"/>
              <a:gd name="connsiteX21" fmla="*/ 1278394 w 6569102"/>
              <a:gd name="connsiteY21" fmla="*/ 6349249 h 6861600"/>
              <a:gd name="connsiteX22" fmla="*/ 1311211 w 6569102"/>
              <a:gd name="connsiteY22" fmla="*/ 6349249 h 6861600"/>
              <a:gd name="connsiteX23" fmla="*/ 1338707 w 6569102"/>
              <a:gd name="connsiteY23" fmla="*/ 6393304 h 6861600"/>
              <a:gd name="connsiteX24" fmla="*/ 1371525 w 6569102"/>
              <a:gd name="connsiteY24" fmla="*/ 6393304 h 6861600"/>
              <a:gd name="connsiteX25" fmla="*/ 1342698 w 6569102"/>
              <a:gd name="connsiteY25" fmla="*/ 6349249 h 6861600"/>
              <a:gd name="connsiteX26" fmla="*/ 1345359 w 6569102"/>
              <a:gd name="connsiteY26" fmla="*/ 6349249 h 6861600"/>
              <a:gd name="connsiteX27" fmla="*/ 1370194 w 6569102"/>
              <a:gd name="connsiteY27" fmla="*/ 6329224 h 6861600"/>
              <a:gd name="connsiteX28" fmla="*/ 1370194 w 6569102"/>
              <a:gd name="connsiteY28" fmla="*/ 6286949 h 6861600"/>
              <a:gd name="connsiteX29" fmla="*/ 1349351 w 6569102"/>
              <a:gd name="connsiteY29" fmla="*/ 6265589 h 6861600"/>
              <a:gd name="connsiteX30" fmla="*/ 1104992 w 6569102"/>
              <a:gd name="connsiteY30" fmla="*/ 6265589 h 6861600"/>
              <a:gd name="connsiteX31" fmla="*/ 1104992 w 6569102"/>
              <a:gd name="connsiteY31" fmla="*/ 6393304 h 6861600"/>
              <a:gd name="connsiteX32" fmla="*/ 1226062 w 6569102"/>
              <a:gd name="connsiteY32" fmla="*/ 6393304 h 6861600"/>
              <a:gd name="connsiteX33" fmla="*/ 1226062 w 6569102"/>
              <a:gd name="connsiteY33" fmla="*/ 6367939 h 6861600"/>
              <a:gd name="connsiteX34" fmla="*/ 1133818 w 6569102"/>
              <a:gd name="connsiteY34" fmla="*/ 6367939 h 6861600"/>
              <a:gd name="connsiteX35" fmla="*/ 1133818 w 6569102"/>
              <a:gd name="connsiteY35" fmla="*/ 6341239 h 6861600"/>
              <a:gd name="connsiteX36" fmla="*/ 1212758 w 6569102"/>
              <a:gd name="connsiteY36" fmla="*/ 6341239 h 6861600"/>
              <a:gd name="connsiteX37" fmla="*/ 1212758 w 6569102"/>
              <a:gd name="connsiteY37" fmla="*/ 6315874 h 6861600"/>
              <a:gd name="connsiteX38" fmla="*/ 1133818 w 6569102"/>
              <a:gd name="connsiteY38" fmla="*/ 6315874 h 6861600"/>
              <a:gd name="connsiteX39" fmla="*/ 1133818 w 6569102"/>
              <a:gd name="connsiteY39" fmla="*/ 6290509 h 6861600"/>
              <a:gd name="connsiteX40" fmla="*/ 1224732 w 6569102"/>
              <a:gd name="connsiteY40" fmla="*/ 6290509 h 6861600"/>
              <a:gd name="connsiteX41" fmla="*/ 1224732 w 6569102"/>
              <a:gd name="connsiteY41" fmla="*/ 6265589 h 6861600"/>
              <a:gd name="connsiteX42" fmla="*/ 995896 w 6569102"/>
              <a:gd name="connsiteY42" fmla="*/ 6265589 h 6861600"/>
              <a:gd name="connsiteX43" fmla="*/ 939574 w 6569102"/>
              <a:gd name="connsiteY43" fmla="*/ 6393304 h 6861600"/>
              <a:gd name="connsiteX44" fmla="*/ 972392 w 6569102"/>
              <a:gd name="connsiteY44" fmla="*/ 6393304 h 6861600"/>
              <a:gd name="connsiteX45" fmla="*/ 983035 w 6569102"/>
              <a:gd name="connsiteY45" fmla="*/ 6367939 h 6861600"/>
              <a:gd name="connsiteX46" fmla="*/ 1048670 w 6569102"/>
              <a:gd name="connsiteY46" fmla="*/ 6367939 h 6861600"/>
              <a:gd name="connsiteX47" fmla="*/ 1060644 w 6569102"/>
              <a:gd name="connsiteY47" fmla="*/ 6393304 h 6861600"/>
              <a:gd name="connsiteX48" fmla="*/ 1092131 w 6569102"/>
              <a:gd name="connsiteY48" fmla="*/ 6393304 h 6861600"/>
              <a:gd name="connsiteX49" fmla="*/ 1035366 w 6569102"/>
              <a:gd name="connsiteY49" fmla="*/ 6265589 h 6861600"/>
              <a:gd name="connsiteX50" fmla="*/ 778147 w 6569102"/>
              <a:gd name="connsiteY50" fmla="*/ 6265589 h 6861600"/>
              <a:gd name="connsiteX51" fmla="*/ 778147 w 6569102"/>
              <a:gd name="connsiteY51" fmla="*/ 6393304 h 6861600"/>
              <a:gd name="connsiteX52" fmla="*/ 805643 w 6569102"/>
              <a:gd name="connsiteY52" fmla="*/ 6393304 h 6861600"/>
              <a:gd name="connsiteX53" fmla="*/ 805643 w 6569102"/>
              <a:gd name="connsiteY53" fmla="*/ 6319879 h 6861600"/>
              <a:gd name="connsiteX54" fmla="*/ 838460 w 6569102"/>
              <a:gd name="connsiteY54" fmla="*/ 6393304 h 6861600"/>
              <a:gd name="connsiteX55" fmla="*/ 867287 w 6569102"/>
              <a:gd name="connsiteY55" fmla="*/ 6393304 h 6861600"/>
              <a:gd name="connsiteX56" fmla="*/ 900104 w 6569102"/>
              <a:gd name="connsiteY56" fmla="*/ 6318544 h 6861600"/>
              <a:gd name="connsiteX57" fmla="*/ 900104 w 6569102"/>
              <a:gd name="connsiteY57" fmla="*/ 6393304 h 6861600"/>
              <a:gd name="connsiteX58" fmla="*/ 927600 w 6569102"/>
              <a:gd name="connsiteY58" fmla="*/ 6393304 h 6861600"/>
              <a:gd name="connsiteX59" fmla="*/ 927600 w 6569102"/>
              <a:gd name="connsiteY59" fmla="*/ 6265589 h 6861600"/>
              <a:gd name="connsiteX60" fmla="*/ 894782 w 6569102"/>
              <a:gd name="connsiteY60" fmla="*/ 6265589 h 6861600"/>
              <a:gd name="connsiteX61" fmla="*/ 852652 w 6569102"/>
              <a:gd name="connsiteY61" fmla="*/ 6361264 h 6861600"/>
              <a:gd name="connsiteX62" fmla="*/ 810965 w 6569102"/>
              <a:gd name="connsiteY62" fmla="*/ 6265589 h 6861600"/>
              <a:gd name="connsiteX63" fmla="*/ 1414986 w 6569102"/>
              <a:gd name="connsiteY63" fmla="*/ 6265144 h 6861600"/>
              <a:gd name="connsiteX64" fmla="*/ 1395472 w 6569102"/>
              <a:gd name="connsiteY64" fmla="*/ 6285169 h 6861600"/>
              <a:gd name="connsiteX65" fmla="*/ 1395472 w 6569102"/>
              <a:gd name="connsiteY65" fmla="*/ 6322549 h 6861600"/>
              <a:gd name="connsiteX66" fmla="*/ 1414986 w 6569102"/>
              <a:gd name="connsiteY66" fmla="*/ 6341239 h 6861600"/>
              <a:gd name="connsiteX67" fmla="*/ 1485942 w 6569102"/>
              <a:gd name="connsiteY67" fmla="*/ 6341239 h 6861600"/>
              <a:gd name="connsiteX68" fmla="*/ 1485942 w 6569102"/>
              <a:gd name="connsiteY68" fmla="*/ 6367939 h 6861600"/>
              <a:gd name="connsiteX69" fmla="*/ 1424299 w 6569102"/>
              <a:gd name="connsiteY69" fmla="*/ 6367939 h 6861600"/>
              <a:gd name="connsiteX70" fmla="*/ 1424299 w 6569102"/>
              <a:gd name="connsiteY70" fmla="*/ 6358594 h 6861600"/>
              <a:gd name="connsiteX71" fmla="*/ 1394142 w 6569102"/>
              <a:gd name="connsiteY71" fmla="*/ 6358594 h 6861600"/>
              <a:gd name="connsiteX72" fmla="*/ 1394142 w 6569102"/>
              <a:gd name="connsiteY72" fmla="*/ 6374614 h 6861600"/>
              <a:gd name="connsiteX73" fmla="*/ 1413655 w 6569102"/>
              <a:gd name="connsiteY73" fmla="*/ 6393304 h 6861600"/>
              <a:gd name="connsiteX74" fmla="*/ 1424299 w 6569102"/>
              <a:gd name="connsiteY74" fmla="*/ 6393304 h 6861600"/>
              <a:gd name="connsiteX75" fmla="*/ 1495256 w 6569102"/>
              <a:gd name="connsiteY75" fmla="*/ 6393304 h 6861600"/>
              <a:gd name="connsiteX76" fmla="*/ 1514769 w 6569102"/>
              <a:gd name="connsiteY76" fmla="*/ 6373279 h 6861600"/>
              <a:gd name="connsiteX77" fmla="*/ 1514769 w 6569102"/>
              <a:gd name="connsiteY77" fmla="*/ 6337234 h 6861600"/>
              <a:gd name="connsiteX78" fmla="*/ 1495256 w 6569102"/>
              <a:gd name="connsiteY78" fmla="*/ 6315874 h 6861600"/>
              <a:gd name="connsiteX79" fmla="*/ 1424299 w 6569102"/>
              <a:gd name="connsiteY79" fmla="*/ 6315874 h 6861600"/>
              <a:gd name="connsiteX80" fmla="*/ 1424299 w 6569102"/>
              <a:gd name="connsiteY80" fmla="*/ 6290509 h 6861600"/>
              <a:gd name="connsiteX81" fmla="*/ 1485942 w 6569102"/>
              <a:gd name="connsiteY81" fmla="*/ 6290509 h 6861600"/>
              <a:gd name="connsiteX82" fmla="*/ 1485942 w 6569102"/>
              <a:gd name="connsiteY82" fmla="*/ 6301189 h 6861600"/>
              <a:gd name="connsiteX83" fmla="*/ 1514769 w 6569102"/>
              <a:gd name="connsiteY83" fmla="*/ 6301189 h 6861600"/>
              <a:gd name="connsiteX84" fmla="*/ 1514769 w 6569102"/>
              <a:gd name="connsiteY84" fmla="*/ 6286504 h 6861600"/>
              <a:gd name="connsiteX85" fmla="*/ 1496586 w 6569102"/>
              <a:gd name="connsiteY85" fmla="*/ 6265144 h 6861600"/>
              <a:gd name="connsiteX86" fmla="*/ 418041 w 6569102"/>
              <a:gd name="connsiteY86" fmla="*/ 6184154 h 6861600"/>
              <a:gd name="connsiteX87" fmla="*/ 386554 w 6569102"/>
              <a:gd name="connsiteY87" fmla="*/ 6217529 h 6861600"/>
              <a:gd name="connsiteX88" fmla="*/ 386554 w 6569102"/>
              <a:gd name="connsiteY88" fmla="*/ 6441363 h 6861600"/>
              <a:gd name="connsiteX89" fmla="*/ 418041 w 6569102"/>
              <a:gd name="connsiteY89" fmla="*/ 6474738 h 6861600"/>
              <a:gd name="connsiteX90" fmla="*/ 624260 w 6569102"/>
              <a:gd name="connsiteY90" fmla="*/ 6474738 h 6861600"/>
              <a:gd name="connsiteX91" fmla="*/ 657077 w 6569102"/>
              <a:gd name="connsiteY91" fmla="*/ 6441363 h 6861600"/>
              <a:gd name="connsiteX92" fmla="*/ 657077 w 6569102"/>
              <a:gd name="connsiteY92" fmla="*/ 6431745 h 6861600"/>
              <a:gd name="connsiteX93" fmla="*/ 657077 w 6569102"/>
              <a:gd name="connsiteY93" fmla="*/ 6406389 h 6861600"/>
              <a:gd name="connsiteX94" fmla="*/ 657077 w 6569102"/>
              <a:gd name="connsiteY94" fmla="*/ 6370541 h 6861600"/>
              <a:gd name="connsiteX95" fmla="*/ 657077 w 6569102"/>
              <a:gd name="connsiteY95" fmla="*/ 6329446 h 6861600"/>
              <a:gd name="connsiteX96" fmla="*/ 657077 w 6569102"/>
              <a:gd name="connsiteY96" fmla="*/ 6288352 h 6861600"/>
              <a:gd name="connsiteX97" fmla="*/ 657077 w 6569102"/>
              <a:gd name="connsiteY97" fmla="*/ 6252503 h 6861600"/>
              <a:gd name="connsiteX98" fmla="*/ 657077 w 6569102"/>
              <a:gd name="connsiteY98" fmla="*/ 6227147 h 6861600"/>
              <a:gd name="connsiteX99" fmla="*/ 657077 w 6569102"/>
              <a:gd name="connsiteY99" fmla="*/ 6217529 h 6861600"/>
              <a:gd name="connsiteX100" fmla="*/ 624260 w 6569102"/>
              <a:gd name="connsiteY100" fmla="*/ 6184154 h 6861600"/>
              <a:gd name="connsiteX101" fmla="*/ 0 w 6569102"/>
              <a:gd name="connsiteY101" fmla="*/ 0 h 6861600"/>
              <a:gd name="connsiteX102" fmla="*/ 6569102 w 6569102"/>
              <a:gd name="connsiteY102" fmla="*/ 0 h 6861600"/>
              <a:gd name="connsiteX103" fmla="*/ 6483195 w 6569102"/>
              <a:gd name="connsiteY103" fmla="*/ 4338 h 6861600"/>
              <a:gd name="connsiteX104" fmla="*/ 5728801 w 6569102"/>
              <a:gd name="connsiteY104" fmla="*/ 840310 h 6861600"/>
              <a:gd name="connsiteX105" fmla="*/ 5728801 w 6569102"/>
              <a:gd name="connsiteY105" fmla="*/ 6861600 h 6861600"/>
              <a:gd name="connsiteX106" fmla="*/ 0 w 6569102"/>
              <a:gd name="connsiteY106"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569102" h="6861600">
                <a:moveTo>
                  <a:pt x="1278394" y="6290509"/>
                </a:moveTo>
                <a:lnTo>
                  <a:pt x="1341368" y="6290509"/>
                </a:lnTo>
                <a:lnTo>
                  <a:pt x="1341368" y="6323884"/>
                </a:lnTo>
                <a:lnTo>
                  <a:pt x="1278394" y="6323884"/>
                </a:lnTo>
                <a:close/>
                <a:moveTo>
                  <a:pt x="1015853" y="6289174"/>
                </a:moveTo>
                <a:lnTo>
                  <a:pt x="1038027" y="6343909"/>
                </a:lnTo>
                <a:lnTo>
                  <a:pt x="993679" y="6343909"/>
                </a:lnTo>
                <a:close/>
                <a:moveTo>
                  <a:pt x="1542264" y="6265589"/>
                </a:moveTo>
                <a:lnTo>
                  <a:pt x="1542264" y="6393304"/>
                </a:lnTo>
                <a:lnTo>
                  <a:pt x="1572864" y="6393304"/>
                </a:lnTo>
                <a:lnTo>
                  <a:pt x="1572864" y="6334564"/>
                </a:lnTo>
                <a:lnTo>
                  <a:pt x="1630517" y="6393304"/>
                </a:lnTo>
                <a:lnTo>
                  <a:pt x="1672647" y="6393304"/>
                </a:lnTo>
                <a:lnTo>
                  <a:pt x="1603021" y="6325219"/>
                </a:lnTo>
                <a:lnTo>
                  <a:pt x="1669986" y="6265589"/>
                </a:lnTo>
                <a:lnTo>
                  <a:pt x="1629186" y="6265589"/>
                </a:lnTo>
                <a:lnTo>
                  <a:pt x="1572864" y="6317209"/>
                </a:lnTo>
                <a:lnTo>
                  <a:pt x="1572864" y="6265589"/>
                </a:lnTo>
                <a:close/>
                <a:moveTo>
                  <a:pt x="1248237" y="6265589"/>
                </a:moveTo>
                <a:lnTo>
                  <a:pt x="1248237" y="6393304"/>
                </a:lnTo>
                <a:lnTo>
                  <a:pt x="1278394" y="6393304"/>
                </a:lnTo>
                <a:lnTo>
                  <a:pt x="1278394" y="6349249"/>
                </a:lnTo>
                <a:lnTo>
                  <a:pt x="1311211" y="6349249"/>
                </a:lnTo>
                <a:lnTo>
                  <a:pt x="1338707" y="6393304"/>
                </a:lnTo>
                <a:lnTo>
                  <a:pt x="1371525" y="6393304"/>
                </a:lnTo>
                <a:lnTo>
                  <a:pt x="1342698" y="6349249"/>
                </a:lnTo>
                <a:lnTo>
                  <a:pt x="1345359" y="6349249"/>
                </a:lnTo>
                <a:cubicBezTo>
                  <a:pt x="1362211" y="6349249"/>
                  <a:pt x="1370194" y="6339904"/>
                  <a:pt x="1370194" y="6329224"/>
                </a:cubicBezTo>
                <a:lnTo>
                  <a:pt x="1370194" y="6286949"/>
                </a:lnTo>
                <a:cubicBezTo>
                  <a:pt x="1370194" y="6273599"/>
                  <a:pt x="1362211" y="6265589"/>
                  <a:pt x="1349351" y="6265589"/>
                </a:cubicBezTo>
                <a:close/>
                <a:moveTo>
                  <a:pt x="1104992" y="6265589"/>
                </a:moveTo>
                <a:lnTo>
                  <a:pt x="1104992" y="6393304"/>
                </a:lnTo>
                <a:lnTo>
                  <a:pt x="1226062" y="6393304"/>
                </a:lnTo>
                <a:lnTo>
                  <a:pt x="1226062" y="6367939"/>
                </a:lnTo>
                <a:lnTo>
                  <a:pt x="1133818" y="6367939"/>
                </a:lnTo>
                <a:lnTo>
                  <a:pt x="1133818" y="6341239"/>
                </a:lnTo>
                <a:lnTo>
                  <a:pt x="1212758" y="6341239"/>
                </a:lnTo>
                <a:lnTo>
                  <a:pt x="1212758" y="6315874"/>
                </a:lnTo>
                <a:lnTo>
                  <a:pt x="1133818" y="6315874"/>
                </a:lnTo>
                <a:lnTo>
                  <a:pt x="1133818" y="6290509"/>
                </a:lnTo>
                <a:lnTo>
                  <a:pt x="1224732" y="6290509"/>
                </a:lnTo>
                <a:lnTo>
                  <a:pt x="1224732" y="6265589"/>
                </a:lnTo>
                <a:close/>
                <a:moveTo>
                  <a:pt x="995896" y="6265589"/>
                </a:moveTo>
                <a:lnTo>
                  <a:pt x="939574" y="6393304"/>
                </a:lnTo>
                <a:lnTo>
                  <a:pt x="972392" y="6393304"/>
                </a:lnTo>
                <a:lnTo>
                  <a:pt x="983035" y="6367939"/>
                </a:lnTo>
                <a:lnTo>
                  <a:pt x="1048670" y="6367939"/>
                </a:lnTo>
                <a:lnTo>
                  <a:pt x="1060644" y="6393304"/>
                </a:lnTo>
                <a:lnTo>
                  <a:pt x="1092131" y="6393304"/>
                </a:lnTo>
                <a:lnTo>
                  <a:pt x="1035366" y="6265589"/>
                </a:lnTo>
                <a:close/>
                <a:moveTo>
                  <a:pt x="778147" y="6265589"/>
                </a:moveTo>
                <a:lnTo>
                  <a:pt x="778147" y="6393304"/>
                </a:lnTo>
                <a:lnTo>
                  <a:pt x="805643" y="6393304"/>
                </a:lnTo>
                <a:lnTo>
                  <a:pt x="805643" y="6319879"/>
                </a:lnTo>
                <a:lnTo>
                  <a:pt x="838460" y="6393304"/>
                </a:lnTo>
                <a:lnTo>
                  <a:pt x="867287" y="6393304"/>
                </a:lnTo>
                <a:lnTo>
                  <a:pt x="900104" y="6318544"/>
                </a:lnTo>
                <a:lnTo>
                  <a:pt x="900104" y="6393304"/>
                </a:lnTo>
                <a:lnTo>
                  <a:pt x="927600" y="6393304"/>
                </a:lnTo>
                <a:lnTo>
                  <a:pt x="927600" y="6265589"/>
                </a:lnTo>
                <a:lnTo>
                  <a:pt x="894782" y="6265589"/>
                </a:lnTo>
                <a:lnTo>
                  <a:pt x="852652" y="6361264"/>
                </a:lnTo>
                <a:lnTo>
                  <a:pt x="810965" y="6265589"/>
                </a:lnTo>
                <a:close/>
                <a:moveTo>
                  <a:pt x="1414986" y="6265144"/>
                </a:moveTo>
                <a:cubicBezTo>
                  <a:pt x="1404786" y="6265144"/>
                  <a:pt x="1395472" y="6273154"/>
                  <a:pt x="1395472" y="6285169"/>
                </a:cubicBezTo>
                <a:lnTo>
                  <a:pt x="1395472" y="6322549"/>
                </a:lnTo>
                <a:cubicBezTo>
                  <a:pt x="1395472" y="6333229"/>
                  <a:pt x="1403012" y="6341239"/>
                  <a:pt x="1414986" y="6341239"/>
                </a:cubicBezTo>
                <a:lnTo>
                  <a:pt x="1485942" y="6341239"/>
                </a:lnTo>
                <a:lnTo>
                  <a:pt x="1485942" y="6367939"/>
                </a:lnTo>
                <a:lnTo>
                  <a:pt x="1424299" y="6367939"/>
                </a:lnTo>
                <a:lnTo>
                  <a:pt x="1424299" y="6358594"/>
                </a:lnTo>
                <a:lnTo>
                  <a:pt x="1394142" y="6358594"/>
                </a:lnTo>
                <a:lnTo>
                  <a:pt x="1394142" y="6374614"/>
                </a:lnTo>
                <a:cubicBezTo>
                  <a:pt x="1394142" y="6385294"/>
                  <a:pt x="1400351" y="6393304"/>
                  <a:pt x="1413655" y="6393304"/>
                </a:cubicBezTo>
                <a:lnTo>
                  <a:pt x="1424299" y="6393304"/>
                </a:lnTo>
                <a:lnTo>
                  <a:pt x="1495256" y="6393304"/>
                </a:lnTo>
                <a:cubicBezTo>
                  <a:pt x="1508116" y="6393304"/>
                  <a:pt x="1514769" y="6385294"/>
                  <a:pt x="1514769" y="6373279"/>
                </a:cubicBezTo>
                <a:lnTo>
                  <a:pt x="1514769" y="6337234"/>
                </a:lnTo>
                <a:cubicBezTo>
                  <a:pt x="1514769" y="6323884"/>
                  <a:pt x="1505899" y="6315874"/>
                  <a:pt x="1495256" y="6315874"/>
                </a:cubicBezTo>
                <a:lnTo>
                  <a:pt x="1424299" y="6315874"/>
                </a:lnTo>
                <a:lnTo>
                  <a:pt x="1424299" y="6290509"/>
                </a:lnTo>
                <a:lnTo>
                  <a:pt x="1485942" y="6290509"/>
                </a:lnTo>
                <a:lnTo>
                  <a:pt x="1485942" y="6301189"/>
                </a:lnTo>
                <a:lnTo>
                  <a:pt x="1514769" y="6301189"/>
                </a:lnTo>
                <a:lnTo>
                  <a:pt x="1514769" y="6286504"/>
                </a:lnTo>
                <a:cubicBezTo>
                  <a:pt x="1514769" y="6273154"/>
                  <a:pt x="1507230" y="6265144"/>
                  <a:pt x="1496586" y="6265144"/>
                </a:cubicBezTo>
                <a:close/>
                <a:moveTo>
                  <a:pt x="418041" y="6184154"/>
                </a:moveTo>
                <a:cubicBezTo>
                  <a:pt x="401189" y="6184154"/>
                  <a:pt x="386554" y="6198839"/>
                  <a:pt x="386554" y="6217529"/>
                </a:cubicBezTo>
                <a:lnTo>
                  <a:pt x="386554" y="6441363"/>
                </a:lnTo>
                <a:cubicBezTo>
                  <a:pt x="386554" y="6460053"/>
                  <a:pt x="401189" y="6474738"/>
                  <a:pt x="418041" y="6474738"/>
                </a:cubicBezTo>
                <a:lnTo>
                  <a:pt x="624260" y="6474738"/>
                </a:lnTo>
                <a:cubicBezTo>
                  <a:pt x="642442" y="6474738"/>
                  <a:pt x="657077" y="6460053"/>
                  <a:pt x="657077" y="6441363"/>
                </a:cubicBezTo>
                <a:lnTo>
                  <a:pt x="657077" y="6431745"/>
                </a:lnTo>
                <a:lnTo>
                  <a:pt x="657077" y="6406389"/>
                </a:lnTo>
                <a:lnTo>
                  <a:pt x="657077" y="6370541"/>
                </a:lnTo>
                <a:lnTo>
                  <a:pt x="657077" y="6329446"/>
                </a:lnTo>
                <a:lnTo>
                  <a:pt x="657077" y="6288352"/>
                </a:lnTo>
                <a:lnTo>
                  <a:pt x="657077" y="6252503"/>
                </a:lnTo>
                <a:lnTo>
                  <a:pt x="657077" y="6227147"/>
                </a:lnTo>
                <a:lnTo>
                  <a:pt x="657077" y="6217529"/>
                </a:lnTo>
                <a:cubicBezTo>
                  <a:pt x="657077" y="6198839"/>
                  <a:pt x="642442" y="6184154"/>
                  <a:pt x="624260" y="6184154"/>
                </a:cubicBezTo>
                <a:close/>
                <a:moveTo>
                  <a:pt x="0" y="0"/>
                </a:moveTo>
                <a:lnTo>
                  <a:pt x="6569102" y="0"/>
                </a:lnTo>
                <a:lnTo>
                  <a:pt x="6483195" y="4338"/>
                </a:lnTo>
                <a:cubicBezTo>
                  <a:pt x="6059463" y="47370"/>
                  <a:pt x="5728801" y="405225"/>
                  <a:pt x="5728801" y="840310"/>
                </a:cubicBezTo>
                <a:lnTo>
                  <a:pt x="5728801" y="6861600"/>
                </a:lnTo>
                <a:lnTo>
                  <a:pt x="0" y="6861600"/>
                </a:lnTo>
                <a:close/>
              </a:path>
            </a:pathLst>
          </a:custGeom>
          <a:solidFill>
            <a:srgbClr val="CFCFCF"/>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12" name="Freeform 11">
            <a:extLst>
              <a:ext uri="{FF2B5EF4-FFF2-40B4-BE49-F238E27FC236}">
                <a16:creationId xmlns:a16="http://schemas.microsoft.com/office/drawing/2014/main" id="{AB84FBBB-C3EE-85E2-4EDC-E8D48EFA75F7}"/>
              </a:ext>
            </a:extLst>
          </p:cNvPr>
          <p:cNvSpPr/>
          <p:nvPr userDrawn="1"/>
        </p:nvSpPr>
        <p:spPr>
          <a:xfrm rot="10800000">
            <a:off x="6097935" y="0"/>
            <a:ext cx="6094065" cy="6858000"/>
          </a:xfrm>
          <a:custGeom>
            <a:avLst/>
            <a:gdLst>
              <a:gd name="connsiteX0" fmla="*/ 5253764 w 6094065"/>
              <a:gd name="connsiteY0" fmla="*/ 6858000 h 6858000"/>
              <a:gd name="connsiteX1" fmla="*/ 4457700 w 6094065"/>
              <a:gd name="connsiteY1" fmla="*/ 6858000 h 6858000"/>
              <a:gd name="connsiteX2" fmla="*/ 4140200 w 6094065"/>
              <a:gd name="connsiteY2" fmla="*/ 6858000 h 6858000"/>
              <a:gd name="connsiteX3" fmla="*/ 4048382 w 6094065"/>
              <a:gd name="connsiteY3" fmla="*/ 6858000 h 6858000"/>
              <a:gd name="connsiteX4" fmla="*/ 3730882 w 6094065"/>
              <a:gd name="connsiteY4" fmla="*/ 6858000 h 6858000"/>
              <a:gd name="connsiteX5" fmla="*/ 0 w 6094065"/>
              <a:gd name="connsiteY5" fmla="*/ 6858000 h 6858000"/>
              <a:gd name="connsiteX6" fmla="*/ 0 w 6094065"/>
              <a:gd name="connsiteY6" fmla="*/ 0 h 6858000"/>
              <a:gd name="connsiteX7" fmla="*/ 4140200 w 6094065"/>
              <a:gd name="connsiteY7" fmla="*/ 0 h 6858000"/>
              <a:gd name="connsiteX8" fmla="*/ 4457700 w 6094065"/>
              <a:gd name="connsiteY8" fmla="*/ 0 h 6858000"/>
              <a:gd name="connsiteX9" fmla="*/ 6094065 w 6094065"/>
              <a:gd name="connsiteY9" fmla="*/ 0 h 6858000"/>
              <a:gd name="connsiteX10" fmla="*/ 6094065 w 6094065"/>
              <a:gd name="connsiteY10" fmla="*/ 6017690 h 6858000"/>
              <a:gd name="connsiteX11" fmla="*/ 5339671 w 6094065"/>
              <a:gd name="connsiteY11" fmla="*/ 68536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065" h="6858000">
                <a:moveTo>
                  <a:pt x="5253764" y="6858000"/>
                </a:moveTo>
                <a:lnTo>
                  <a:pt x="4457700" y="6858000"/>
                </a:lnTo>
                <a:lnTo>
                  <a:pt x="4140200" y="6858000"/>
                </a:lnTo>
                <a:lnTo>
                  <a:pt x="4048382" y="6858000"/>
                </a:lnTo>
                <a:lnTo>
                  <a:pt x="3730882" y="6858000"/>
                </a:lnTo>
                <a:lnTo>
                  <a:pt x="0" y="6858000"/>
                </a:lnTo>
                <a:lnTo>
                  <a:pt x="0" y="0"/>
                </a:lnTo>
                <a:lnTo>
                  <a:pt x="4140200" y="0"/>
                </a:lnTo>
                <a:lnTo>
                  <a:pt x="4457700" y="0"/>
                </a:lnTo>
                <a:lnTo>
                  <a:pt x="6094065" y="0"/>
                </a:lnTo>
                <a:lnTo>
                  <a:pt x="6094065" y="6017690"/>
                </a:lnTo>
                <a:cubicBezTo>
                  <a:pt x="6094065" y="6452775"/>
                  <a:pt x="5763403" y="6810630"/>
                  <a:pt x="5339671" y="685366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37600" tIns="237600" rIns="237600" bIns="237600" rtlCol="0" anchor="ctr">
            <a:noAutofit/>
          </a:bodyPr>
          <a:lstStyle/>
          <a:p>
            <a:pPr algn="ctr"/>
            <a:endParaRPr lang="en-001" sz="2000" noProof="0" err="1"/>
          </a:p>
        </p:txBody>
      </p:sp>
      <p:sp>
        <p:nvSpPr>
          <p:cNvPr id="2" name="Title 1"/>
          <p:cNvSpPr>
            <a:spLocks noGrp="1"/>
          </p:cNvSpPr>
          <p:nvPr>
            <p:ph type="ctrTitle" hasCustomPrompt="1"/>
          </p:nvPr>
        </p:nvSpPr>
        <p:spPr>
          <a:xfrm>
            <a:off x="6596063" y="2732087"/>
            <a:ext cx="5094287" cy="3171001"/>
          </a:xfrm>
        </p:spPr>
        <p:txBody>
          <a:bodyPr anchor="t"/>
          <a:lstStyle>
            <a:lvl1pPr algn="l">
              <a:defRPr sz="3200" spc="-150">
                <a:solidFill>
                  <a:schemeClr val="tx1"/>
                </a:solidFill>
              </a:defRPr>
            </a:lvl1pPr>
          </a:lstStyle>
          <a:p>
            <a:r>
              <a:rPr lang="en-GB"/>
              <a:t>Click to add quote</a:t>
            </a:r>
          </a:p>
        </p:txBody>
      </p:sp>
      <p:sp>
        <p:nvSpPr>
          <p:cNvPr id="3" name="Text Placeholder 12">
            <a:extLst>
              <a:ext uri="{FF2B5EF4-FFF2-40B4-BE49-F238E27FC236}">
                <a16:creationId xmlns:a16="http://schemas.microsoft.com/office/drawing/2014/main" id="{2D0F18FF-64AA-2E82-DDBF-AEF954EF3019}"/>
              </a:ext>
            </a:extLst>
          </p:cNvPr>
          <p:cNvSpPr>
            <a:spLocks noGrp="1"/>
          </p:cNvSpPr>
          <p:nvPr>
            <p:ph type="body" sz="quarter" idx="19" hasCustomPrompt="1"/>
          </p:nvPr>
        </p:nvSpPr>
        <p:spPr>
          <a:xfrm>
            <a:off x="6596063" y="5943600"/>
            <a:ext cx="5094287" cy="459086"/>
          </a:xfrm>
        </p:spPr>
        <p:txBody>
          <a:bodyPr anchor="b" anchorCtr="0"/>
          <a:lstStyle>
            <a:lvl1pPr marL="0" indent="0">
              <a:lnSpc>
                <a:spcPts val="1300"/>
              </a:lnSpc>
              <a:buFontTx/>
              <a:buNone/>
              <a:defRPr sz="1400">
                <a:solidFill>
                  <a:schemeClr val="tx1"/>
                </a:solidFill>
                <a:latin typeface="+mj-lt"/>
              </a:defRPr>
            </a:lvl1pPr>
            <a:lvl2pPr marL="180000" indent="0">
              <a:buFontTx/>
              <a:buNone/>
              <a:defRPr sz="1400">
                <a:solidFill>
                  <a:schemeClr val="bg1"/>
                </a:solidFill>
                <a:latin typeface="+mj-lt"/>
              </a:defRPr>
            </a:lvl2pPr>
            <a:lvl3pPr marL="360000" indent="0">
              <a:buFontTx/>
              <a:buNone/>
              <a:defRPr sz="1400">
                <a:solidFill>
                  <a:schemeClr val="bg1"/>
                </a:solidFill>
                <a:latin typeface="+mj-lt"/>
              </a:defRPr>
            </a:lvl3pPr>
            <a:lvl4pPr>
              <a:buFontTx/>
              <a:buNone/>
              <a:defRPr sz="1400">
                <a:solidFill>
                  <a:schemeClr val="bg1"/>
                </a:solidFill>
                <a:latin typeface="+mj-lt"/>
              </a:defRPr>
            </a:lvl4pPr>
            <a:lvl5pPr>
              <a:buFontTx/>
              <a:buNone/>
              <a:defRPr sz="1400">
                <a:solidFill>
                  <a:schemeClr val="bg1"/>
                </a:solidFill>
                <a:latin typeface="+mj-lt"/>
              </a:defRPr>
            </a:lvl5pPr>
          </a:lstStyle>
          <a:p>
            <a:pPr lvl="0"/>
            <a:r>
              <a:rPr lang="en-US"/>
              <a:t>Click to add name</a:t>
            </a:r>
            <a:endParaRPr lang="en-001"/>
          </a:p>
        </p:txBody>
      </p:sp>
    </p:spTree>
    <p:extLst>
      <p:ext uri="{BB962C8B-B14F-4D97-AF65-F5344CB8AC3E}">
        <p14:creationId xmlns:p14="http://schemas.microsoft.com/office/powerpoint/2010/main" val="30440488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ull bleed image A">
    <p:bg>
      <p:bgPr>
        <a:solidFill>
          <a:schemeClr val="bg1"/>
        </a:solidFill>
        <a:effectLst/>
      </p:bgPr>
    </p:bg>
    <p:spTree>
      <p:nvGrpSpPr>
        <p:cNvPr id="1" name=""/>
        <p:cNvGrpSpPr/>
        <p:nvPr/>
      </p:nvGrpSpPr>
      <p:grpSpPr>
        <a:xfrm>
          <a:off x="0" y="0"/>
          <a:ext cx="0" cy="0"/>
          <a:chOff x="0" y="0"/>
          <a:chExt cx="0" cy="0"/>
        </a:xfrm>
      </p:grpSpPr>
      <p:pic>
        <p:nvPicPr>
          <p:cNvPr id="37" name="Picture 29">
            <a:extLst>
              <a:ext uri="{FF2B5EF4-FFF2-40B4-BE49-F238E27FC236}">
                <a16:creationId xmlns:a16="http://schemas.microsoft.com/office/drawing/2014/main" id="{927E9CDB-1F39-9430-8EA5-65A3BC8D111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36" name="Picture Placeholder 35">
            <a:extLst>
              <a:ext uri="{FF2B5EF4-FFF2-40B4-BE49-F238E27FC236}">
                <a16:creationId xmlns:a16="http://schemas.microsoft.com/office/drawing/2014/main" id="{67613774-AF57-BF59-8A57-A53D318AE4E9}"/>
              </a:ext>
            </a:extLst>
          </p:cNvPr>
          <p:cNvSpPr>
            <a:spLocks noGrp="1"/>
          </p:cNvSpPr>
          <p:nvPr>
            <p:ph type="pic" sz="quarter" idx="13" hasCustomPrompt="1"/>
          </p:nvPr>
        </p:nvSpPr>
        <p:spPr>
          <a:xfrm>
            <a:off x="0" y="0"/>
            <a:ext cx="12193200" cy="6861600"/>
          </a:xfrm>
          <a:custGeom>
            <a:avLst/>
            <a:gdLst>
              <a:gd name="connsiteX0" fmla="*/ 1278393 w 12193200"/>
              <a:gd name="connsiteY0" fmla="*/ 6290509 h 6861600"/>
              <a:gd name="connsiteX1" fmla="*/ 1341367 w 12193200"/>
              <a:gd name="connsiteY1" fmla="*/ 6290509 h 6861600"/>
              <a:gd name="connsiteX2" fmla="*/ 1341367 w 12193200"/>
              <a:gd name="connsiteY2" fmla="*/ 6323884 h 6861600"/>
              <a:gd name="connsiteX3" fmla="*/ 1278393 w 12193200"/>
              <a:gd name="connsiteY3" fmla="*/ 6323884 h 6861600"/>
              <a:gd name="connsiteX4" fmla="*/ 1015852 w 12193200"/>
              <a:gd name="connsiteY4" fmla="*/ 6289174 h 6861600"/>
              <a:gd name="connsiteX5" fmla="*/ 1038026 w 12193200"/>
              <a:gd name="connsiteY5" fmla="*/ 6343909 h 6861600"/>
              <a:gd name="connsiteX6" fmla="*/ 993678 w 12193200"/>
              <a:gd name="connsiteY6" fmla="*/ 6343909 h 6861600"/>
              <a:gd name="connsiteX7" fmla="*/ 1542263 w 12193200"/>
              <a:gd name="connsiteY7" fmla="*/ 6265589 h 6861600"/>
              <a:gd name="connsiteX8" fmla="*/ 1542263 w 12193200"/>
              <a:gd name="connsiteY8" fmla="*/ 6393304 h 6861600"/>
              <a:gd name="connsiteX9" fmla="*/ 1572863 w 12193200"/>
              <a:gd name="connsiteY9" fmla="*/ 6393304 h 6861600"/>
              <a:gd name="connsiteX10" fmla="*/ 1572863 w 12193200"/>
              <a:gd name="connsiteY10" fmla="*/ 6334564 h 6861600"/>
              <a:gd name="connsiteX11" fmla="*/ 1630516 w 12193200"/>
              <a:gd name="connsiteY11" fmla="*/ 6393304 h 6861600"/>
              <a:gd name="connsiteX12" fmla="*/ 1672646 w 12193200"/>
              <a:gd name="connsiteY12" fmla="*/ 6393304 h 6861600"/>
              <a:gd name="connsiteX13" fmla="*/ 1603020 w 12193200"/>
              <a:gd name="connsiteY13" fmla="*/ 6325219 h 6861600"/>
              <a:gd name="connsiteX14" fmla="*/ 1669985 w 12193200"/>
              <a:gd name="connsiteY14" fmla="*/ 6265589 h 6861600"/>
              <a:gd name="connsiteX15" fmla="*/ 1629185 w 12193200"/>
              <a:gd name="connsiteY15" fmla="*/ 6265589 h 6861600"/>
              <a:gd name="connsiteX16" fmla="*/ 1572863 w 12193200"/>
              <a:gd name="connsiteY16" fmla="*/ 6317209 h 6861600"/>
              <a:gd name="connsiteX17" fmla="*/ 1572863 w 12193200"/>
              <a:gd name="connsiteY17" fmla="*/ 6265589 h 6861600"/>
              <a:gd name="connsiteX18" fmla="*/ 1248236 w 12193200"/>
              <a:gd name="connsiteY18" fmla="*/ 6265589 h 6861600"/>
              <a:gd name="connsiteX19" fmla="*/ 1248236 w 12193200"/>
              <a:gd name="connsiteY19" fmla="*/ 6393304 h 6861600"/>
              <a:gd name="connsiteX20" fmla="*/ 1278393 w 12193200"/>
              <a:gd name="connsiteY20" fmla="*/ 6393304 h 6861600"/>
              <a:gd name="connsiteX21" fmla="*/ 1278393 w 12193200"/>
              <a:gd name="connsiteY21" fmla="*/ 6349249 h 6861600"/>
              <a:gd name="connsiteX22" fmla="*/ 1311210 w 12193200"/>
              <a:gd name="connsiteY22" fmla="*/ 6349249 h 6861600"/>
              <a:gd name="connsiteX23" fmla="*/ 1338706 w 12193200"/>
              <a:gd name="connsiteY23" fmla="*/ 6393304 h 6861600"/>
              <a:gd name="connsiteX24" fmla="*/ 1371524 w 12193200"/>
              <a:gd name="connsiteY24" fmla="*/ 6393304 h 6861600"/>
              <a:gd name="connsiteX25" fmla="*/ 1342697 w 12193200"/>
              <a:gd name="connsiteY25" fmla="*/ 6349249 h 6861600"/>
              <a:gd name="connsiteX26" fmla="*/ 1345358 w 12193200"/>
              <a:gd name="connsiteY26" fmla="*/ 6349249 h 6861600"/>
              <a:gd name="connsiteX27" fmla="*/ 1370193 w 12193200"/>
              <a:gd name="connsiteY27" fmla="*/ 6329224 h 6861600"/>
              <a:gd name="connsiteX28" fmla="*/ 1370193 w 12193200"/>
              <a:gd name="connsiteY28" fmla="*/ 6286949 h 6861600"/>
              <a:gd name="connsiteX29" fmla="*/ 1349350 w 12193200"/>
              <a:gd name="connsiteY29" fmla="*/ 6265589 h 6861600"/>
              <a:gd name="connsiteX30" fmla="*/ 1104991 w 12193200"/>
              <a:gd name="connsiteY30" fmla="*/ 6265589 h 6861600"/>
              <a:gd name="connsiteX31" fmla="*/ 1104991 w 12193200"/>
              <a:gd name="connsiteY31" fmla="*/ 6393304 h 6861600"/>
              <a:gd name="connsiteX32" fmla="*/ 1226061 w 12193200"/>
              <a:gd name="connsiteY32" fmla="*/ 6393304 h 6861600"/>
              <a:gd name="connsiteX33" fmla="*/ 1226061 w 12193200"/>
              <a:gd name="connsiteY33" fmla="*/ 6367939 h 6861600"/>
              <a:gd name="connsiteX34" fmla="*/ 1133817 w 12193200"/>
              <a:gd name="connsiteY34" fmla="*/ 6367939 h 6861600"/>
              <a:gd name="connsiteX35" fmla="*/ 1133817 w 12193200"/>
              <a:gd name="connsiteY35" fmla="*/ 6341239 h 6861600"/>
              <a:gd name="connsiteX36" fmla="*/ 1212757 w 12193200"/>
              <a:gd name="connsiteY36" fmla="*/ 6341239 h 6861600"/>
              <a:gd name="connsiteX37" fmla="*/ 1212757 w 12193200"/>
              <a:gd name="connsiteY37" fmla="*/ 6315874 h 6861600"/>
              <a:gd name="connsiteX38" fmla="*/ 1133817 w 12193200"/>
              <a:gd name="connsiteY38" fmla="*/ 6315874 h 6861600"/>
              <a:gd name="connsiteX39" fmla="*/ 1133817 w 12193200"/>
              <a:gd name="connsiteY39" fmla="*/ 6290509 h 6861600"/>
              <a:gd name="connsiteX40" fmla="*/ 1224731 w 12193200"/>
              <a:gd name="connsiteY40" fmla="*/ 6290509 h 6861600"/>
              <a:gd name="connsiteX41" fmla="*/ 1224731 w 12193200"/>
              <a:gd name="connsiteY41" fmla="*/ 6265589 h 6861600"/>
              <a:gd name="connsiteX42" fmla="*/ 995895 w 12193200"/>
              <a:gd name="connsiteY42" fmla="*/ 6265589 h 6861600"/>
              <a:gd name="connsiteX43" fmla="*/ 939573 w 12193200"/>
              <a:gd name="connsiteY43" fmla="*/ 6393304 h 6861600"/>
              <a:gd name="connsiteX44" fmla="*/ 972391 w 12193200"/>
              <a:gd name="connsiteY44" fmla="*/ 6393304 h 6861600"/>
              <a:gd name="connsiteX45" fmla="*/ 983034 w 12193200"/>
              <a:gd name="connsiteY45" fmla="*/ 6367939 h 6861600"/>
              <a:gd name="connsiteX46" fmla="*/ 1048669 w 12193200"/>
              <a:gd name="connsiteY46" fmla="*/ 6367939 h 6861600"/>
              <a:gd name="connsiteX47" fmla="*/ 1060643 w 12193200"/>
              <a:gd name="connsiteY47" fmla="*/ 6393304 h 6861600"/>
              <a:gd name="connsiteX48" fmla="*/ 1092130 w 12193200"/>
              <a:gd name="connsiteY48" fmla="*/ 6393304 h 6861600"/>
              <a:gd name="connsiteX49" fmla="*/ 1035365 w 12193200"/>
              <a:gd name="connsiteY49" fmla="*/ 6265589 h 6861600"/>
              <a:gd name="connsiteX50" fmla="*/ 778146 w 12193200"/>
              <a:gd name="connsiteY50" fmla="*/ 6265589 h 6861600"/>
              <a:gd name="connsiteX51" fmla="*/ 778146 w 12193200"/>
              <a:gd name="connsiteY51" fmla="*/ 6393304 h 6861600"/>
              <a:gd name="connsiteX52" fmla="*/ 805642 w 12193200"/>
              <a:gd name="connsiteY52" fmla="*/ 6393304 h 6861600"/>
              <a:gd name="connsiteX53" fmla="*/ 805642 w 12193200"/>
              <a:gd name="connsiteY53" fmla="*/ 6319879 h 6861600"/>
              <a:gd name="connsiteX54" fmla="*/ 838459 w 12193200"/>
              <a:gd name="connsiteY54" fmla="*/ 6393304 h 6861600"/>
              <a:gd name="connsiteX55" fmla="*/ 867286 w 12193200"/>
              <a:gd name="connsiteY55" fmla="*/ 6393304 h 6861600"/>
              <a:gd name="connsiteX56" fmla="*/ 900103 w 12193200"/>
              <a:gd name="connsiteY56" fmla="*/ 6318544 h 6861600"/>
              <a:gd name="connsiteX57" fmla="*/ 900103 w 12193200"/>
              <a:gd name="connsiteY57" fmla="*/ 6393304 h 6861600"/>
              <a:gd name="connsiteX58" fmla="*/ 927599 w 12193200"/>
              <a:gd name="connsiteY58" fmla="*/ 6393304 h 6861600"/>
              <a:gd name="connsiteX59" fmla="*/ 927599 w 12193200"/>
              <a:gd name="connsiteY59" fmla="*/ 6265589 h 6861600"/>
              <a:gd name="connsiteX60" fmla="*/ 894781 w 12193200"/>
              <a:gd name="connsiteY60" fmla="*/ 6265589 h 6861600"/>
              <a:gd name="connsiteX61" fmla="*/ 852651 w 12193200"/>
              <a:gd name="connsiteY61" fmla="*/ 6361264 h 6861600"/>
              <a:gd name="connsiteX62" fmla="*/ 810964 w 12193200"/>
              <a:gd name="connsiteY62" fmla="*/ 6265589 h 6861600"/>
              <a:gd name="connsiteX63" fmla="*/ 1414985 w 12193200"/>
              <a:gd name="connsiteY63" fmla="*/ 6265144 h 6861600"/>
              <a:gd name="connsiteX64" fmla="*/ 1395471 w 12193200"/>
              <a:gd name="connsiteY64" fmla="*/ 6285169 h 6861600"/>
              <a:gd name="connsiteX65" fmla="*/ 1395471 w 12193200"/>
              <a:gd name="connsiteY65" fmla="*/ 6322549 h 6861600"/>
              <a:gd name="connsiteX66" fmla="*/ 1414985 w 12193200"/>
              <a:gd name="connsiteY66" fmla="*/ 6341239 h 6861600"/>
              <a:gd name="connsiteX67" fmla="*/ 1485941 w 12193200"/>
              <a:gd name="connsiteY67" fmla="*/ 6341239 h 6861600"/>
              <a:gd name="connsiteX68" fmla="*/ 1485941 w 12193200"/>
              <a:gd name="connsiteY68" fmla="*/ 6367939 h 6861600"/>
              <a:gd name="connsiteX69" fmla="*/ 1424298 w 12193200"/>
              <a:gd name="connsiteY69" fmla="*/ 6367939 h 6861600"/>
              <a:gd name="connsiteX70" fmla="*/ 1424298 w 12193200"/>
              <a:gd name="connsiteY70" fmla="*/ 6358594 h 6861600"/>
              <a:gd name="connsiteX71" fmla="*/ 1394141 w 12193200"/>
              <a:gd name="connsiteY71" fmla="*/ 6358594 h 6861600"/>
              <a:gd name="connsiteX72" fmla="*/ 1394141 w 12193200"/>
              <a:gd name="connsiteY72" fmla="*/ 6374614 h 6861600"/>
              <a:gd name="connsiteX73" fmla="*/ 1413654 w 12193200"/>
              <a:gd name="connsiteY73" fmla="*/ 6393304 h 6861600"/>
              <a:gd name="connsiteX74" fmla="*/ 1424298 w 12193200"/>
              <a:gd name="connsiteY74" fmla="*/ 6393304 h 6861600"/>
              <a:gd name="connsiteX75" fmla="*/ 1495255 w 12193200"/>
              <a:gd name="connsiteY75" fmla="*/ 6393304 h 6861600"/>
              <a:gd name="connsiteX76" fmla="*/ 1514768 w 12193200"/>
              <a:gd name="connsiteY76" fmla="*/ 6373279 h 6861600"/>
              <a:gd name="connsiteX77" fmla="*/ 1514768 w 12193200"/>
              <a:gd name="connsiteY77" fmla="*/ 6337234 h 6861600"/>
              <a:gd name="connsiteX78" fmla="*/ 1495255 w 12193200"/>
              <a:gd name="connsiteY78" fmla="*/ 6315874 h 6861600"/>
              <a:gd name="connsiteX79" fmla="*/ 1424298 w 12193200"/>
              <a:gd name="connsiteY79" fmla="*/ 6315874 h 6861600"/>
              <a:gd name="connsiteX80" fmla="*/ 1424298 w 12193200"/>
              <a:gd name="connsiteY80" fmla="*/ 6290509 h 6861600"/>
              <a:gd name="connsiteX81" fmla="*/ 1485941 w 12193200"/>
              <a:gd name="connsiteY81" fmla="*/ 6290509 h 6861600"/>
              <a:gd name="connsiteX82" fmla="*/ 1485941 w 12193200"/>
              <a:gd name="connsiteY82" fmla="*/ 6301189 h 6861600"/>
              <a:gd name="connsiteX83" fmla="*/ 1514768 w 12193200"/>
              <a:gd name="connsiteY83" fmla="*/ 6301189 h 6861600"/>
              <a:gd name="connsiteX84" fmla="*/ 1514768 w 12193200"/>
              <a:gd name="connsiteY84" fmla="*/ 6286504 h 6861600"/>
              <a:gd name="connsiteX85" fmla="*/ 1496585 w 12193200"/>
              <a:gd name="connsiteY85" fmla="*/ 6265144 h 6861600"/>
              <a:gd name="connsiteX86" fmla="*/ 418040 w 12193200"/>
              <a:gd name="connsiteY86" fmla="*/ 6184154 h 6861600"/>
              <a:gd name="connsiteX87" fmla="*/ 386553 w 12193200"/>
              <a:gd name="connsiteY87" fmla="*/ 6217529 h 6861600"/>
              <a:gd name="connsiteX88" fmla="*/ 386553 w 12193200"/>
              <a:gd name="connsiteY88" fmla="*/ 6441363 h 6861600"/>
              <a:gd name="connsiteX89" fmla="*/ 418040 w 12193200"/>
              <a:gd name="connsiteY89" fmla="*/ 6474738 h 6861600"/>
              <a:gd name="connsiteX90" fmla="*/ 624259 w 12193200"/>
              <a:gd name="connsiteY90" fmla="*/ 6474738 h 6861600"/>
              <a:gd name="connsiteX91" fmla="*/ 657076 w 12193200"/>
              <a:gd name="connsiteY91" fmla="*/ 6441363 h 6861600"/>
              <a:gd name="connsiteX92" fmla="*/ 657076 w 12193200"/>
              <a:gd name="connsiteY92" fmla="*/ 6217529 h 6861600"/>
              <a:gd name="connsiteX93" fmla="*/ 624259 w 12193200"/>
              <a:gd name="connsiteY93" fmla="*/ 6184154 h 6861600"/>
              <a:gd name="connsiteX94" fmla="*/ 0 w 12193200"/>
              <a:gd name="connsiteY94" fmla="*/ 0 h 6861600"/>
              <a:gd name="connsiteX95" fmla="*/ 12193200 w 12193200"/>
              <a:gd name="connsiteY95" fmla="*/ 0 h 6861600"/>
              <a:gd name="connsiteX96" fmla="*/ 12193200 w 12193200"/>
              <a:gd name="connsiteY96" fmla="*/ 6861600 h 6861600"/>
              <a:gd name="connsiteX97" fmla="*/ 0 w 12193200"/>
              <a:gd name="connsiteY9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3200" h="6861600">
                <a:moveTo>
                  <a:pt x="1278393" y="6290509"/>
                </a:moveTo>
                <a:lnTo>
                  <a:pt x="1341367" y="6290509"/>
                </a:lnTo>
                <a:lnTo>
                  <a:pt x="1341367" y="6323884"/>
                </a:lnTo>
                <a:lnTo>
                  <a:pt x="1278393" y="6323884"/>
                </a:lnTo>
                <a:close/>
                <a:moveTo>
                  <a:pt x="1015852" y="6289174"/>
                </a:moveTo>
                <a:lnTo>
                  <a:pt x="1038026" y="6343909"/>
                </a:lnTo>
                <a:lnTo>
                  <a:pt x="993678" y="6343909"/>
                </a:lnTo>
                <a:close/>
                <a:moveTo>
                  <a:pt x="1542263" y="6265589"/>
                </a:moveTo>
                <a:lnTo>
                  <a:pt x="1542263" y="6393304"/>
                </a:lnTo>
                <a:lnTo>
                  <a:pt x="1572863" y="6393304"/>
                </a:lnTo>
                <a:lnTo>
                  <a:pt x="1572863" y="6334564"/>
                </a:lnTo>
                <a:lnTo>
                  <a:pt x="1630516" y="6393304"/>
                </a:lnTo>
                <a:lnTo>
                  <a:pt x="1672646" y="6393304"/>
                </a:lnTo>
                <a:lnTo>
                  <a:pt x="1603020" y="6325219"/>
                </a:lnTo>
                <a:lnTo>
                  <a:pt x="1669985" y="6265589"/>
                </a:lnTo>
                <a:lnTo>
                  <a:pt x="1629185" y="6265589"/>
                </a:lnTo>
                <a:lnTo>
                  <a:pt x="1572863" y="6317209"/>
                </a:lnTo>
                <a:lnTo>
                  <a:pt x="1572863" y="6265589"/>
                </a:lnTo>
                <a:close/>
                <a:moveTo>
                  <a:pt x="1248236" y="6265589"/>
                </a:moveTo>
                <a:lnTo>
                  <a:pt x="1248236" y="6393304"/>
                </a:lnTo>
                <a:lnTo>
                  <a:pt x="1278393" y="6393304"/>
                </a:lnTo>
                <a:lnTo>
                  <a:pt x="1278393" y="6349249"/>
                </a:lnTo>
                <a:lnTo>
                  <a:pt x="1311210" y="6349249"/>
                </a:lnTo>
                <a:lnTo>
                  <a:pt x="1338706" y="6393304"/>
                </a:lnTo>
                <a:lnTo>
                  <a:pt x="1371524" y="6393304"/>
                </a:lnTo>
                <a:lnTo>
                  <a:pt x="1342697" y="6349249"/>
                </a:lnTo>
                <a:lnTo>
                  <a:pt x="1345358" y="6349249"/>
                </a:lnTo>
                <a:cubicBezTo>
                  <a:pt x="1362210" y="6349249"/>
                  <a:pt x="1370193" y="6339904"/>
                  <a:pt x="1370193" y="6329224"/>
                </a:cubicBezTo>
                <a:lnTo>
                  <a:pt x="1370193" y="6286949"/>
                </a:lnTo>
                <a:cubicBezTo>
                  <a:pt x="1370193" y="6273599"/>
                  <a:pt x="1362210" y="6265589"/>
                  <a:pt x="1349350" y="6265589"/>
                </a:cubicBezTo>
                <a:close/>
                <a:moveTo>
                  <a:pt x="1104991" y="6265589"/>
                </a:moveTo>
                <a:lnTo>
                  <a:pt x="1104991" y="6393304"/>
                </a:lnTo>
                <a:lnTo>
                  <a:pt x="1226061" y="6393304"/>
                </a:lnTo>
                <a:lnTo>
                  <a:pt x="1226061" y="6367939"/>
                </a:lnTo>
                <a:lnTo>
                  <a:pt x="1133817" y="6367939"/>
                </a:lnTo>
                <a:lnTo>
                  <a:pt x="1133817" y="6341239"/>
                </a:lnTo>
                <a:lnTo>
                  <a:pt x="1212757" y="6341239"/>
                </a:lnTo>
                <a:lnTo>
                  <a:pt x="1212757" y="6315874"/>
                </a:lnTo>
                <a:lnTo>
                  <a:pt x="1133817" y="6315874"/>
                </a:lnTo>
                <a:lnTo>
                  <a:pt x="1133817" y="6290509"/>
                </a:lnTo>
                <a:lnTo>
                  <a:pt x="1224731" y="6290509"/>
                </a:lnTo>
                <a:lnTo>
                  <a:pt x="1224731" y="6265589"/>
                </a:lnTo>
                <a:close/>
                <a:moveTo>
                  <a:pt x="995895" y="6265589"/>
                </a:moveTo>
                <a:lnTo>
                  <a:pt x="939573" y="6393304"/>
                </a:lnTo>
                <a:lnTo>
                  <a:pt x="972391" y="6393304"/>
                </a:lnTo>
                <a:lnTo>
                  <a:pt x="983034" y="6367939"/>
                </a:lnTo>
                <a:lnTo>
                  <a:pt x="1048669" y="6367939"/>
                </a:lnTo>
                <a:lnTo>
                  <a:pt x="1060643" y="6393304"/>
                </a:lnTo>
                <a:lnTo>
                  <a:pt x="1092130" y="6393304"/>
                </a:lnTo>
                <a:lnTo>
                  <a:pt x="1035365" y="6265589"/>
                </a:lnTo>
                <a:close/>
                <a:moveTo>
                  <a:pt x="778146" y="6265589"/>
                </a:moveTo>
                <a:lnTo>
                  <a:pt x="778146" y="6393304"/>
                </a:lnTo>
                <a:lnTo>
                  <a:pt x="805642" y="6393304"/>
                </a:lnTo>
                <a:lnTo>
                  <a:pt x="805642" y="6319879"/>
                </a:lnTo>
                <a:lnTo>
                  <a:pt x="838459" y="6393304"/>
                </a:lnTo>
                <a:lnTo>
                  <a:pt x="867286" y="6393304"/>
                </a:lnTo>
                <a:lnTo>
                  <a:pt x="900103" y="6318544"/>
                </a:lnTo>
                <a:lnTo>
                  <a:pt x="900103" y="6393304"/>
                </a:lnTo>
                <a:lnTo>
                  <a:pt x="927599" y="6393304"/>
                </a:lnTo>
                <a:lnTo>
                  <a:pt x="927599" y="6265589"/>
                </a:lnTo>
                <a:lnTo>
                  <a:pt x="894781" y="6265589"/>
                </a:lnTo>
                <a:lnTo>
                  <a:pt x="852651" y="6361264"/>
                </a:lnTo>
                <a:lnTo>
                  <a:pt x="810964" y="6265589"/>
                </a:lnTo>
                <a:close/>
                <a:moveTo>
                  <a:pt x="1414985" y="6265144"/>
                </a:moveTo>
                <a:cubicBezTo>
                  <a:pt x="1404785" y="6265144"/>
                  <a:pt x="1395471" y="6273154"/>
                  <a:pt x="1395471" y="6285169"/>
                </a:cubicBezTo>
                <a:lnTo>
                  <a:pt x="1395471" y="6322549"/>
                </a:lnTo>
                <a:cubicBezTo>
                  <a:pt x="1395471" y="6333229"/>
                  <a:pt x="1403011" y="6341239"/>
                  <a:pt x="1414985" y="6341239"/>
                </a:cubicBezTo>
                <a:lnTo>
                  <a:pt x="1485941" y="6341239"/>
                </a:lnTo>
                <a:lnTo>
                  <a:pt x="1485941" y="6367939"/>
                </a:lnTo>
                <a:lnTo>
                  <a:pt x="1424298" y="6367939"/>
                </a:lnTo>
                <a:lnTo>
                  <a:pt x="1424298" y="6358594"/>
                </a:lnTo>
                <a:lnTo>
                  <a:pt x="1394141" y="6358594"/>
                </a:lnTo>
                <a:lnTo>
                  <a:pt x="1394141" y="6374614"/>
                </a:lnTo>
                <a:cubicBezTo>
                  <a:pt x="1394141" y="6385294"/>
                  <a:pt x="1400350" y="6393304"/>
                  <a:pt x="1413654" y="6393304"/>
                </a:cubicBezTo>
                <a:lnTo>
                  <a:pt x="1424298" y="6393304"/>
                </a:lnTo>
                <a:lnTo>
                  <a:pt x="1495255" y="6393304"/>
                </a:lnTo>
                <a:cubicBezTo>
                  <a:pt x="1508115" y="6393304"/>
                  <a:pt x="1514768" y="6385294"/>
                  <a:pt x="1514768" y="6373279"/>
                </a:cubicBezTo>
                <a:lnTo>
                  <a:pt x="1514768" y="6337234"/>
                </a:lnTo>
                <a:cubicBezTo>
                  <a:pt x="1514768" y="6323884"/>
                  <a:pt x="1505898" y="6315874"/>
                  <a:pt x="1495255" y="6315874"/>
                </a:cubicBezTo>
                <a:lnTo>
                  <a:pt x="1424298" y="6315874"/>
                </a:lnTo>
                <a:lnTo>
                  <a:pt x="1424298" y="6290509"/>
                </a:lnTo>
                <a:lnTo>
                  <a:pt x="1485941" y="6290509"/>
                </a:lnTo>
                <a:lnTo>
                  <a:pt x="1485941" y="6301189"/>
                </a:lnTo>
                <a:lnTo>
                  <a:pt x="1514768" y="6301189"/>
                </a:lnTo>
                <a:lnTo>
                  <a:pt x="1514768" y="6286504"/>
                </a:lnTo>
                <a:cubicBezTo>
                  <a:pt x="1514768" y="6273154"/>
                  <a:pt x="1507229" y="6265144"/>
                  <a:pt x="1496585" y="6265144"/>
                </a:cubicBezTo>
                <a:close/>
                <a:moveTo>
                  <a:pt x="418040" y="6184154"/>
                </a:moveTo>
                <a:cubicBezTo>
                  <a:pt x="401188" y="6184154"/>
                  <a:pt x="386553" y="6198839"/>
                  <a:pt x="386553" y="6217529"/>
                </a:cubicBezTo>
                <a:lnTo>
                  <a:pt x="386553" y="6441363"/>
                </a:lnTo>
                <a:cubicBezTo>
                  <a:pt x="386553" y="6460053"/>
                  <a:pt x="401188" y="6474738"/>
                  <a:pt x="418040" y="6474738"/>
                </a:cubicBezTo>
                <a:lnTo>
                  <a:pt x="624259" y="6474738"/>
                </a:lnTo>
                <a:cubicBezTo>
                  <a:pt x="642441" y="6474738"/>
                  <a:pt x="657076" y="6460053"/>
                  <a:pt x="657076" y="6441363"/>
                </a:cubicBezTo>
                <a:cubicBezTo>
                  <a:pt x="657076" y="6441363"/>
                  <a:pt x="657076" y="6217529"/>
                  <a:pt x="657076" y="6217529"/>
                </a:cubicBezTo>
                <a:cubicBezTo>
                  <a:pt x="657076" y="6198839"/>
                  <a:pt x="642441" y="6184154"/>
                  <a:pt x="624259" y="6184154"/>
                </a:cubicBezTo>
                <a:close/>
                <a:moveTo>
                  <a:pt x="0" y="0"/>
                </a:moveTo>
                <a:lnTo>
                  <a:pt x="12193200" y="0"/>
                </a:lnTo>
                <a:lnTo>
                  <a:pt x="12193200" y="6861600"/>
                </a:lnTo>
                <a:lnTo>
                  <a:pt x="0" y="6861600"/>
                </a:lnTo>
                <a:close/>
              </a:path>
            </a:pathLst>
          </a:custGeom>
          <a:solidFill>
            <a:schemeClr val="bg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Tree>
    <p:extLst>
      <p:ext uri="{BB962C8B-B14F-4D97-AF65-F5344CB8AC3E}">
        <p14:creationId xmlns:p14="http://schemas.microsoft.com/office/powerpoint/2010/main" val="1391407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Full bleed image B">
    <p:bg>
      <p:bgPr>
        <a:solidFill>
          <a:schemeClr val="bg1"/>
        </a:solidFill>
        <a:effectLst/>
      </p:bgPr>
    </p:bg>
    <p:spTree>
      <p:nvGrpSpPr>
        <p:cNvPr id="1" name=""/>
        <p:cNvGrpSpPr/>
        <p:nvPr/>
      </p:nvGrpSpPr>
      <p:grpSpPr>
        <a:xfrm>
          <a:off x="0" y="0"/>
          <a:ext cx="0" cy="0"/>
          <a:chOff x="0" y="0"/>
          <a:chExt cx="0" cy="0"/>
        </a:xfrm>
      </p:grpSpPr>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r>
              <a:rPr lang="en-GB"/>
              <a:t>.</a:t>
            </a:r>
          </a:p>
        </p:txBody>
      </p:sp>
      <p:sp>
        <p:nvSpPr>
          <p:cNvPr id="36" name="Picture Placeholder 35">
            <a:extLst>
              <a:ext uri="{FF2B5EF4-FFF2-40B4-BE49-F238E27FC236}">
                <a16:creationId xmlns:a16="http://schemas.microsoft.com/office/drawing/2014/main" id="{E20EAE02-6DC0-4394-0B31-37E2AA6B68B0}"/>
              </a:ext>
            </a:extLst>
          </p:cNvPr>
          <p:cNvSpPr>
            <a:spLocks noGrp="1"/>
          </p:cNvSpPr>
          <p:nvPr>
            <p:ph type="pic" sz="quarter" idx="13" hasCustomPrompt="1"/>
          </p:nvPr>
        </p:nvSpPr>
        <p:spPr>
          <a:xfrm>
            <a:off x="0" y="0"/>
            <a:ext cx="12193200" cy="6861600"/>
          </a:xfrm>
          <a:custGeom>
            <a:avLst/>
            <a:gdLst>
              <a:gd name="connsiteX0" fmla="*/ 1278393 w 12193200"/>
              <a:gd name="connsiteY0" fmla="*/ 6290509 h 6861600"/>
              <a:gd name="connsiteX1" fmla="*/ 1341367 w 12193200"/>
              <a:gd name="connsiteY1" fmla="*/ 6290509 h 6861600"/>
              <a:gd name="connsiteX2" fmla="*/ 1341367 w 12193200"/>
              <a:gd name="connsiteY2" fmla="*/ 6323884 h 6861600"/>
              <a:gd name="connsiteX3" fmla="*/ 1278393 w 12193200"/>
              <a:gd name="connsiteY3" fmla="*/ 6323884 h 6861600"/>
              <a:gd name="connsiteX4" fmla="*/ 1015852 w 12193200"/>
              <a:gd name="connsiteY4" fmla="*/ 6289174 h 6861600"/>
              <a:gd name="connsiteX5" fmla="*/ 1038026 w 12193200"/>
              <a:gd name="connsiteY5" fmla="*/ 6343909 h 6861600"/>
              <a:gd name="connsiteX6" fmla="*/ 993678 w 12193200"/>
              <a:gd name="connsiteY6" fmla="*/ 6343909 h 6861600"/>
              <a:gd name="connsiteX7" fmla="*/ 1542263 w 12193200"/>
              <a:gd name="connsiteY7" fmla="*/ 6265589 h 6861600"/>
              <a:gd name="connsiteX8" fmla="*/ 1542263 w 12193200"/>
              <a:gd name="connsiteY8" fmla="*/ 6393304 h 6861600"/>
              <a:gd name="connsiteX9" fmla="*/ 1572863 w 12193200"/>
              <a:gd name="connsiteY9" fmla="*/ 6393304 h 6861600"/>
              <a:gd name="connsiteX10" fmla="*/ 1572863 w 12193200"/>
              <a:gd name="connsiteY10" fmla="*/ 6334564 h 6861600"/>
              <a:gd name="connsiteX11" fmla="*/ 1630516 w 12193200"/>
              <a:gd name="connsiteY11" fmla="*/ 6393304 h 6861600"/>
              <a:gd name="connsiteX12" fmla="*/ 1672646 w 12193200"/>
              <a:gd name="connsiteY12" fmla="*/ 6393304 h 6861600"/>
              <a:gd name="connsiteX13" fmla="*/ 1603020 w 12193200"/>
              <a:gd name="connsiteY13" fmla="*/ 6325219 h 6861600"/>
              <a:gd name="connsiteX14" fmla="*/ 1669985 w 12193200"/>
              <a:gd name="connsiteY14" fmla="*/ 6265589 h 6861600"/>
              <a:gd name="connsiteX15" fmla="*/ 1629185 w 12193200"/>
              <a:gd name="connsiteY15" fmla="*/ 6265589 h 6861600"/>
              <a:gd name="connsiteX16" fmla="*/ 1572863 w 12193200"/>
              <a:gd name="connsiteY16" fmla="*/ 6317209 h 6861600"/>
              <a:gd name="connsiteX17" fmla="*/ 1572863 w 12193200"/>
              <a:gd name="connsiteY17" fmla="*/ 6265589 h 6861600"/>
              <a:gd name="connsiteX18" fmla="*/ 1248236 w 12193200"/>
              <a:gd name="connsiteY18" fmla="*/ 6265589 h 6861600"/>
              <a:gd name="connsiteX19" fmla="*/ 1248236 w 12193200"/>
              <a:gd name="connsiteY19" fmla="*/ 6393304 h 6861600"/>
              <a:gd name="connsiteX20" fmla="*/ 1278393 w 12193200"/>
              <a:gd name="connsiteY20" fmla="*/ 6393304 h 6861600"/>
              <a:gd name="connsiteX21" fmla="*/ 1278393 w 12193200"/>
              <a:gd name="connsiteY21" fmla="*/ 6349249 h 6861600"/>
              <a:gd name="connsiteX22" fmla="*/ 1311210 w 12193200"/>
              <a:gd name="connsiteY22" fmla="*/ 6349249 h 6861600"/>
              <a:gd name="connsiteX23" fmla="*/ 1338706 w 12193200"/>
              <a:gd name="connsiteY23" fmla="*/ 6393304 h 6861600"/>
              <a:gd name="connsiteX24" fmla="*/ 1371524 w 12193200"/>
              <a:gd name="connsiteY24" fmla="*/ 6393304 h 6861600"/>
              <a:gd name="connsiteX25" fmla="*/ 1342697 w 12193200"/>
              <a:gd name="connsiteY25" fmla="*/ 6349249 h 6861600"/>
              <a:gd name="connsiteX26" fmla="*/ 1345358 w 12193200"/>
              <a:gd name="connsiteY26" fmla="*/ 6349249 h 6861600"/>
              <a:gd name="connsiteX27" fmla="*/ 1370193 w 12193200"/>
              <a:gd name="connsiteY27" fmla="*/ 6329224 h 6861600"/>
              <a:gd name="connsiteX28" fmla="*/ 1370193 w 12193200"/>
              <a:gd name="connsiteY28" fmla="*/ 6286949 h 6861600"/>
              <a:gd name="connsiteX29" fmla="*/ 1349350 w 12193200"/>
              <a:gd name="connsiteY29" fmla="*/ 6265589 h 6861600"/>
              <a:gd name="connsiteX30" fmla="*/ 1104991 w 12193200"/>
              <a:gd name="connsiteY30" fmla="*/ 6265589 h 6861600"/>
              <a:gd name="connsiteX31" fmla="*/ 1104991 w 12193200"/>
              <a:gd name="connsiteY31" fmla="*/ 6393304 h 6861600"/>
              <a:gd name="connsiteX32" fmla="*/ 1226061 w 12193200"/>
              <a:gd name="connsiteY32" fmla="*/ 6393304 h 6861600"/>
              <a:gd name="connsiteX33" fmla="*/ 1226061 w 12193200"/>
              <a:gd name="connsiteY33" fmla="*/ 6367939 h 6861600"/>
              <a:gd name="connsiteX34" fmla="*/ 1133817 w 12193200"/>
              <a:gd name="connsiteY34" fmla="*/ 6367939 h 6861600"/>
              <a:gd name="connsiteX35" fmla="*/ 1133817 w 12193200"/>
              <a:gd name="connsiteY35" fmla="*/ 6341239 h 6861600"/>
              <a:gd name="connsiteX36" fmla="*/ 1212757 w 12193200"/>
              <a:gd name="connsiteY36" fmla="*/ 6341239 h 6861600"/>
              <a:gd name="connsiteX37" fmla="*/ 1212757 w 12193200"/>
              <a:gd name="connsiteY37" fmla="*/ 6315874 h 6861600"/>
              <a:gd name="connsiteX38" fmla="*/ 1133817 w 12193200"/>
              <a:gd name="connsiteY38" fmla="*/ 6315874 h 6861600"/>
              <a:gd name="connsiteX39" fmla="*/ 1133817 w 12193200"/>
              <a:gd name="connsiteY39" fmla="*/ 6290509 h 6861600"/>
              <a:gd name="connsiteX40" fmla="*/ 1224731 w 12193200"/>
              <a:gd name="connsiteY40" fmla="*/ 6290509 h 6861600"/>
              <a:gd name="connsiteX41" fmla="*/ 1224731 w 12193200"/>
              <a:gd name="connsiteY41" fmla="*/ 6265589 h 6861600"/>
              <a:gd name="connsiteX42" fmla="*/ 995895 w 12193200"/>
              <a:gd name="connsiteY42" fmla="*/ 6265589 h 6861600"/>
              <a:gd name="connsiteX43" fmla="*/ 939573 w 12193200"/>
              <a:gd name="connsiteY43" fmla="*/ 6393304 h 6861600"/>
              <a:gd name="connsiteX44" fmla="*/ 972391 w 12193200"/>
              <a:gd name="connsiteY44" fmla="*/ 6393304 h 6861600"/>
              <a:gd name="connsiteX45" fmla="*/ 983034 w 12193200"/>
              <a:gd name="connsiteY45" fmla="*/ 6367939 h 6861600"/>
              <a:gd name="connsiteX46" fmla="*/ 1048669 w 12193200"/>
              <a:gd name="connsiteY46" fmla="*/ 6367939 h 6861600"/>
              <a:gd name="connsiteX47" fmla="*/ 1060643 w 12193200"/>
              <a:gd name="connsiteY47" fmla="*/ 6393304 h 6861600"/>
              <a:gd name="connsiteX48" fmla="*/ 1092130 w 12193200"/>
              <a:gd name="connsiteY48" fmla="*/ 6393304 h 6861600"/>
              <a:gd name="connsiteX49" fmla="*/ 1035365 w 12193200"/>
              <a:gd name="connsiteY49" fmla="*/ 6265589 h 6861600"/>
              <a:gd name="connsiteX50" fmla="*/ 778146 w 12193200"/>
              <a:gd name="connsiteY50" fmla="*/ 6265589 h 6861600"/>
              <a:gd name="connsiteX51" fmla="*/ 778146 w 12193200"/>
              <a:gd name="connsiteY51" fmla="*/ 6393304 h 6861600"/>
              <a:gd name="connsiteX52" fmla="*/ 805642 w 12193200"/>
              <a:gd name="connsiteY52" fmla="*/ 6393304 h 6861600"/>
              <a:gd name="connsiteX53" fmla="*/ 805642 w 12193200"/>
              <a:gd name="connsiteY53" fmla="*/ 6319879 h 6861600"/>
              <a:gd name="connsiteX54" fmla="*/ 838459 w 12193200"/>
              <a:gd name="connsiteY54" fmla="*/ 6393304 h 6861600"/>
              <a:gd name="connsiteX55" fmla="*/ 867286 w 12193200"/>
              <a:gd name="connsiteY55" fmla="*/ 6393304 h 6861600"/>
              <a:gd name="connsiteX56" fmla="*/ 900103 w 12193200"/>
              <a:gd name="connsiteY56" fmla="*/ 6318544 h 6861600"/>
              <a:gd name="connsiteX57" fmla="*/ 900103 w 12193200"/>
              <a:gd name="connsiteY57" fmla="*/ 6393304 h 6861600"/>
              <a:gd name="connsiteX58" fmla="*/ 927599 w 12193200"/>
              <a:gd name="connsiteY58" fmla="*/ 6393304 h 6861600"/>
              <a:gd name="connsiteX59" fmla="*/ 927599 w 12193200"/>
              <a:gd name="connsiteY59" fmla="*/ 6265589 h 6861600"/>
              <a:gd name="connsiteX60" fmla="*/ 894781 w 12193200"/>
              <a:gd name="connsiteY60" fmla="*/ 6265589 h 6861600"/>
              <a:gd name="connsiteX61" fmla="*/ 852651 w 12193200"/>
              <a:gd name="connsiteY61" fmla="*/ 6361264 h 6861600"/>
              <a:gd name="connsiteX62" fmla="*/ 810964 w 12193200"/>
              <a:gd name="connsiteY62" fmla="*/ 6265589 h 6861600"/>
              <a:gd name="connsiteX63" fmla="*/ 1414985 w 12193200"/>
              <a:gd name="connsiteY63" fmla="*/ 6265144 h 6861600"/>
              <a:gd name="connsiteX64" fmla="*/ 1395471 w 12193200"/>
              <a:gd name="connsiteY64" fmla="*/ 6285169 h 6861600"/>
              <a:gd name="connsiteX65" fmla="*/ 1395471 w 12193200"/>
              <a:gd name="connsiteY65" fmla="*/ 6322549 h 6861600"/>
              <a:gd name="connsiteX66" fmla="*/ 1414985 w 12193200"/>
              <a:gd name="connsiteY66" fmla="*/ 6341239 h 6861600"/>
              <a:gd name="connsiteX67" fmla="*/ 1485941 w 12193200"/>
              <a:gd name="connsiteY67" fmla="*/ 6341239 h 6861600"/>
              <a:gd name="connsiteX68" fmla="*/ 1485941 w 12193200"/>
              <a:gd name="connsiteY68" fmla="*/ 6367939 h 6861600"/>
              <a:gd name="connsiteX69" fmla="*/ 1424298 w 12193200"/>
              <a:gd name="connsiteY69" fmla="*/ 6367939 h 6861600"/>
              <a:gd name="connsiteX70" fmla="*/ 1424298 w 12193200"/>
              <a:gd name="connsiteY70" fmla="*/ 6358594 h 6861600"/>
              <a:gd name="connsiteX71" fmla="*/ 1394141 w 12193200"/>
              <a:gd name="connsiteY71" fmla="*/ 6358594 h 6861600"/>
              <a:gd name="connsiteX72" fmla="*/ 1394141 w 12193200"/>
              <a:gd name="connsiteY72" fmla="*/ 6374614 h 6861600"/>
              <a:gd name="connsiteX73" fmla="*/ 1413654 w 12193200"/>
              <a:gd name="connsiteY73" fmla="*/ 6393304 h 6861600"/>
              <a:gd name="connsiteX74" fmla="*/ 1424298 w 12193200"/>
              <a:gd name="connsiteY74" fmla="*/ 6393304 h 6861600"/>
              <a:gd name="connsiteX75" fmla="*/ 1495255 w 12193200"/>
              <a:gd name="connsiteY75" fmla="*/ 6393304 h 6861600"/>
              <a:gd name="connsiteX76" fmla="*/ 1514768 w 12193200"/>
              <a:gd name="connsiteY76" fmla="*/ 6373279 h 6861600"/>
              <a:gd name="connsiteX77" fmla="*/ 1514768 w 12193200"/>
              <a:gd name="connsiteY77" fmla="*/ 6337234 h 6861600"/>
              <a:gd name="connsiteX78" fmla="*/ 1495255 w 12193200"/>
              <a:gd name="connsiteY78" fmla="*/ 6315874 h 6861600"/>
              <a:gd name="connsiteX79" fmla="*/ 1424298 w 12193200"/>
              <a:gd name="connsiteY79" fmla="*/ 6315874 h 6861600"/>
              <a:gd name="connsiteX80" fmla="*/ 1424298 w 12193200"/>
              <a:gd name="connsiteY80" fmla="*/ 6290509 h 6861600"/>
              <a:gd name="connsiteX81" fmla="*/ 1485941 w 12193200"/>
              <a:gd name="connsiteY81" fmla="*/ 6290509 h 6861600"/>
              <a:gd name="connsiteX82" fmla="*/ 1485941 w 12193200"/>
              <a:gd name="connsiteY82" fmla="*/ 6301189 h 6861600"/>
              <a:gd name="connsiteX83" fmla="*/ 1514768 w 12193200"/>
              <a:gd name="connsiteY83" fmla="*/ 6301189 h 6861600"/>
              <a:gd name="connsiteX84" fmla="*/ 1514768 w 12193200"/>
              <a:gd name="connsiteY84" fmla="*/ 6286504 h 6861600"/>
              <a:gd name="connsiteX85" fmla="*/ 1496585 w 12193200"/>
              <a:gd name="connsiteY85" fmla="*/ 6265144 h 6861600"/>
              <a:gd name="connsiteX86" fmla="*/ 418040 w 12193200"/>
              <a:gd name="connsiteY86" fmla="*/ 6184154 h 6861600"/>
              <a:gd name="connsiteX87" fmla="*/ 386553 w 12193200"/>
              <a:gd name="connsiteY87" fmla="*/ 6217529 h 6861600"/>
              <a:gd name="connsiteX88" fmla="*/ 386553 w 12193200"/>
              <a:gd name="connsiteY88" fmla="*/ 6441363 h 6861600"/>
              <a:gd name="connsiteX89" fmla="*/ 418040 w 12193200"/>
              <a:gd name="connsiteY89" fmla="*/ 6474738 h 6861600"/>
              <a:gd name="connsiteX90" fmla="*/ 624259 w 12193200"/>
              <a:gd name="connsiteY90" fmla="*/ 6474738 h 6861600"/>
              <a:gd name="connsiteX91" fmla="*/ 657076 w 12193200"/>
              <a:gd name="connsiteY91" fmla="*/ 6441363 h 6861600"/>
              <a:gd name="connsiteX92" fmla="*/ 657076 w 12193200"/>
              <a:gd name="connsiteY92" fmla="*/ 6217529 h 6861600"/>
              <a:gd name="connsiteX93" fmla="*/ 624259 w 12193200"/>
              <a:gd name="connsiteY93" fmla="*/ 6184154 h 6861600"/>
              <a:gd name="connsiteX94" fmla="*/ 0 w 12193200"/>
              <a:gd name="connsiteY94" fmla="*/ 0 h 6861600"/>
              <a:gd name="connsiteX95" fmla="*/ 12193200 w 12193200"/>
              <a:gd name="connsiteY95" fmla="*/ 0 h 6861600"/>
              <a:gd name="connsiteX96" fmla="*/ 12193200 w 12193200"/>
              <a:gd name="connsiteY96" fmla="*/ 6861600 h 6861600"/>
              <a:gd name="connsiteX97" fmla="*/ 0 w 12193200"/>
              <a:gd name="connsiteY9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3200" h="6861600">
                <a:moveTo>
                  <a:pt x="1278393" y="6290509"/>
                </a:moveTo>
                <a:lnTo>
                  <a:pt x="1341367" y="6290509"/>
                </a:lnTo>
                <a:lnTo>
                  <a:pt x="1341367" y="6323884"/>
                </a:lnTo>
                <a:lnTo>
                  <a:pt x="1278393" y="6323884"/>
                </a:lnTo>
                <a:close/>
                <a:moveTo>
                  <a:pt x="1015852" y="6289174"/>
                </a:moveTo>
                <a:lnTo>
                  <a:pt x="1038026" y="6343909"/>
                </a:lnTo>
                <a:lnTo>
                  <a:pt x="993678" y="6343909"/>
                </a:lnTo>
                <a:close/>
                <a:moveTo>
                  <a:pt x="1542263" y="6265589"/>
                </a:moveTo>
                <a:lnTo>
                  <a:pt x="1542263" y="6393304"/>
                </a:lnTo>
                <a:lnTo>
                  <a:pt x="1572863" y="6393304"/>
                </a:lnTo>
                <a:lnTo>
                  <a:pt x="1572863" y="6334564"/>
                </a:lnTo>
                <a:lnTo>
                  <a:pt x="1630516" y="6393304"/>
                </a:lnTo>
                <a:lnTo>
                  <a:pt x="1672646" y="6393304"/>
                </a:lnTo>
                <a:lnTo>
                  <a:pt x="1603020" y="6325219"/>
                </a:lnTo>
                <a:lnTo>
                  <a:pt x="1669985" y="6265589"/>
                </a:lnTo>
                <a:lnTo>
                  <a:pt x="1629185" y="6265589"/>
                </a:lnTo>
                <a:lnTo>
                  <a:pt x="1572863" y="6317209"/>
                </a:lnTo>
                <a:lnTo>
                  <a:pt x="1572863" y="6265589"/>
                </a:lnTo>
                <a:close/>
                <a:moveTo>
                  <a:pt x="1248236" y="6265589"/>
                </a:moveTo>
                <a:lnTo>
                  <a:pt x="1248236" y="6393304"/>
                </a:lnTo>
                <a:lnTo>
                  <a:pt x="1278393" y="6393304"/>
                </a:lnTo>
                <a:lnTo>
                  <a:pt x="1278393" y="6349249"/>
                </a:lnTo>
                <a:lnTo>
                  <a:pt x="1311210" y="6349249"/>
                </a:lnTo>
                <a:lnTo>
                  <a:pt x="1338706" y="6393304"/>
                </a:lnTo>
                <a:lnTo>
                  <a:pt x="1371524" y="6393304"/>
                </a:lnTo>
                <a:lnTo>
                  <a:pt x="1342697" y="6349249"/>
                </a:lnTo>
                <a:lnTo>
                  <a:pt x="1345358" y="6349249"/>
                </a:lnTo>
                <a:cubicBezTo>
                  <a:pt x="1362210" y="6349249"/>
                  <a:pt x="1370193" y="6339904"/>
                  <a:pt x="1370193" y="6329224"/>
                </a:cubicBezTo>
                <a:lnTo>
                  <a:pt x="1370193" y="6286949"/>
                </a:lnTo>
                <a:cubicBezTo>
                  <a:pt x="1370193" y="6273599"/>
                  <a:pt x="1362210" y="6265589"/>
                  <a:pt x="1349350" y="6265589"/>
                </a:cubicBezTo>
                <a:close/>
                <a:moveTo>
                  <a:pt x="1104991" y="6265589"/>
                </a:moveTo>
                <a:lnTo>
                  <a:pt x="1104991" y="6393304"/>
                </a:lnTo>
                <a:lnTo>
                  <a:pt x="1226061" y="6393304"/>
                </a:lnTo>
                <a:lnTo>
                  <a:pt x="1226061" y="6367939"/>
                </a:lnTo>
                <a:lnTo>
                  <a:pt x="1133817" y="6367939"/>
                </a:lnTo>
                <a:lnTo>
                  <a:pt x="1133817" y="6341239"/>
                </a:lnTo>
                <a:lnTo>
                  <a:pt x="1212757" y="6341239"/>
                </a:lnTo>
                <a:lnTo>
                  <a:pt x="1212757" y="6315874"/>
                </a:lnTo>
                <a:lnTo>
                  <a:pt x="1133817" y="6315874"/>
                </a:lnTo>
                <a:lnTo>
                  <a:pt x="1133817" y="6290509"/>
                </a:lnTo>
                <a:lnTo>
                  <a:pt x="1224731" y="6290509"/>
                </a:lnTo>
                <a:lnTo>
                  <a:pt x="1224731" y="6265589"/>
                </a:lnTo>
                <a:close/>
                <a:moveTo>
                  <a:pt x="995895" y="6265589"/>
                </a:moveTo>
                <a:lnTo>
                  <a:pt x="939573" y="6393304"/>
                </a:lnTo>
                <a:lnTo>
                  <a:pt x="972391" y="6393304"/>
                </a:lnTo>
                <a:lnTo>
                  <a:pt x="983034" y="6367939"/>
                </a:lnTo>
                <a:lnTo>
                  <a:pt x="1048669" y="6367939"/>
                </a:lnTo>
                <a:lnTo>
                  <a:pt x="1060643" y="6393304"/>
                </a:lnTo>
                <a:lnTo>
                  <a:pt x="1092130" y="6393304"/>
                </a:lnTo>
                <a:lnTo>
                  <a:pt x="1035365" y="6265589"/>
                </a:lnTo>
                <a:close/>
                <a:moveTo>
                  <a:pt x="778146" y="6265589"/>
                </a:moveTo>
                <a:lnTo>
                  <a:pt x="778146" y="6393304"/>
                </a:lnTo>
                <a:lnTo>
                  <a:pt x="805642" y="6393304"/>
                </a:lnTo>
                <a:lnTo>
                  <a:pt x="805642" y="6319879"/>
                </a:lnTo>
                <a:lnTo>
                  <a:pt x="838459" y="6393304"/>
                </a:lnTo>
                <a:lnTo>
                  <a:pt x="867286" y="6393304"/>
                </a:lnTo>
                <a:lnTo>
                  <a:pt x="900103" y="6318544"/>
                </a:lnTo>
                <a:lnTo>
                  <a:pt x="900103" y="6393304"/>
                </a:lnTo>
                <a:lnTo>
                  <a:pt x="927599" y="6393304"/>
                </a:lnTo>
                <a:lnTo>
                  <a:pt x="927599" y="6265589"/>
                </a:lnTo>
                <a:lnTo>
                  <a:pt x="894781" y="6265589"/>
                </a:lnTo>
                <a:lnTo>
                  <a:pt x="852651" y="6361264"/>
                </a:lnTo>
                <a:lnTo>
                  <a:pt x="810964" y="6265589"/>
                </a:lnTo>
                <a:close/>
                <a:moveTo>
                  <a:pt x="1414985" y="6265144"/>
                </a:moveTo>
                <a:cubicBezTo>
                  <a:pt x="1404785" y="6265144"/>
                  <a:pt x="1395471" y="6273154"/>
                  <a:pt x="1395471" y="6285169"/>
                </a:cubicBezTo>
                <a:lnTo>
                  <a:pt x="1395471" y="6322549"/>
                </a:lnTo>
                <a:cubicBezTo>
                  <a:pt x="1395471" y="6333229"/>
                  <a:pt x="1403011" y="6341239"/>
                  <a:pt x="1414985" y="6341239"/>
                </a:cubicBezTo>
                <a:lnTo>
                  <a:pt x="1485941" y="6341239"/>
                </a:lnTo>
                <a:lnTo>
                  <a:pt x="1485941" y="6367939"/>
                </a:lnTo>
                <a:lnTo>
                  <a:pt x="1424298" y="6367939"/>
                </a:lnTo>
                <a:lnTo>
                  <a:pt x="1424298" y="6358594"/>
                </a:lnTo>
                <a:lnTo>
                  <a:pt x="1394141" y="6358594"/>
                </a:lnTo>
                <a:lnTo>
                  <a:pt x="1394141" y="6374614"/>
                </a:lnTo>
                <a:cubicBezTo>
                  <a:pt x="1394141" y="6385294"/>
                  <a:pt x="1400350" y="6393304"/>
                  <a:pt x="1413654" y="6393304"/>
                </a:cubicBezTo>
                <a:lnTo>
                  <a:pt x="1424298" y="6393304"/>
                </a:lnTo>
                <a:lnTo>
                  <a:pt x="1495255" y="6393304"/>
                </a:lnTo>
                <a:cubicBezTo>
                  <a:pt x="1508115" y="6393304"/>
                  <a:pt x="1514768" y="6385294"/>
                  <a:pt x="1514768" y="6373279"/>
                </a:cubicBezTo>
                <a:lnTo>
                  <a:pt x="1514768" y="6337234"/>
                </a:lnTo>
                <a:cubicBezTo>
                  <a:pt x="1514768" y="6323884"/>
                  <a:pt x="1505898" y="6315874"/>
                  <a:pt x="1495255" y="6315874"/>
                </a:cubicBezTo>
                <a:lnTo>
                  <a:pt x="1424298" y="6315874"/>
                </a:lnTo>
                <a:lnTo>
                  <a:pt x="1424298" y="6290509"/>
                </a:lnTo>
                <a:lnTo>
                  <a:pt x="1485941" y="6290509"/>
                </a:lnTo>
                <a:lnTo>
                  <a:pt x="1485941" y="6301189"/>
                </a:lnTo>
                <a:lnTo>
                  <a:pt x="1514768" y="6301189"/>
                </a:lnTo>
                <a:lnTo>
                  <a:pt x="1514768" y="6286504"/>
                </a:lnTo>
                <a:cubicBezTo>
                  <a:pt x="1514768" y="6273154"/>
                  <a:pt x="1507229" y="6265144"/>
                  <a:pt x="1496585" y="6265144"/>
                </a:cubicBezTo>
                <a:close/>
                <a:moveTo>
                  <a:pt x="418040" y="6184154"/>
                </a:moveTo>
                <a:cubicBezTo>
                  <a:pt x="401188" y="6184154"/>
                  <a:pt x="386553" y="6198839"/>
                  <a:pt x="386553" y="6217529"/>
                </a:cubicBezTo>
                <a:lnTo>
                  <a:pt x="386553" y="6441363"/>
                </a:lnTo>
                <a:cubicBezTo>
                  <a:pt x="386553" y="6460053"/>
                  <a:pt x="401188" y="6474738"/>
                  <a:pt x="418040" y="6474738"/>
                </a:cubicBezTo>
                <a:lnTo>
                  <a:pt x="624259" y="6474738"/>
                </a:lnTo>
                <a:cubicBezTo>
                  <a:pt x="642441" y="6474738"/>
                  <a:pt x="657076" y="6460053"/>
                  <a:pt x="657076" y="6441363"/>
                </a:cubicBezTo>
                <a:cubicBezTo>
                  <a:pt x="657076" y="6441363"/>
                  <a:pt x="657076" y="6217529"/>
                  <a:pt x="657076" y="6217529"/>
                </a:cubicBezTo>
                <a:cubicBezTo>
                  <a:pt x="657076" y="6198839"/>
                  <a:pt x="642441" y="6184154"/>
                  <a:pt x="624259" y="6184154"/>
                </a:cubicBezTo>
                <a:close/>
                <a:moveTo>
                  <a:pt x="0" y="0"/>
                </a:moveTo>
                <a:lnTo>
                  <a:pt x="12193200" y="0"/>
                </a:lnTo>
                <a:lnTo>
                  <a:pt x="12193200" y="6861600"/>
                </a:lnTo>
                <a:lnTo>
                  <a:pt x="0" y="6861600"/>
                </a:lnTo>
                <a:close/>
              </a:path>
            </a:pathLst>
          </a:custGeom>
          <a:solidFill>
            <a:schemeClr val="accent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pic>
        <p:nvPicPr>
          <p:cNvPr id="37" name="Picture 29">
            <a:extLst>
              <a:ext uri="{FF2B5EF4-FFF2-40B4-BE49-F238E27FC236}">
                <a16:creationId xmlns:a16="http://schemas.microsoft.com/office/drawing/2014/main" id="{3EECEA3A-FE08-5230-0B56-A1C520DAD2E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6" y="6169025"/>
            <a:ext cx="1299395" cy="320399"/>
          </a:xfrm>
          <a:prstGeom prst="rect">
            <a:avLst/>
          </a:prstGeom>
        </p:spPr>
      </p:pic>
    </p:spTree>
    <p:extLst>
      <p:ext uri="{BB962C8B-B14F-4D97-AF65-F5344CB8AC3E}">
        <p14:creationId xmlns:p14="http://schemas.microsoft.com/office/powerpoint/2010/main" val="21671506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bleed image C">
    <p:bg>
      <p:bgPr>
        <a:solidFill>
          <a:schemeClr val="bg1"/>
        </a:solidFill>
        <a:effectLst/>
      </p:bgPr>
    </p:bg>
    <p:spTree>
      <p:nvGrpSpPr>
        <p:cNvPr id="1" name=""/>
        <p:cNvGrpSpPr/>
        <p:nvPr/>
      </p:nvGrpSpPr>
      <p:grpSpPr>
        <a:xfrm>
          <a:off x="0" y="0"/>
          <a:ext cx="0" cy="0"/>
          <a:chOff x="0" y="0"/>
          <a:chExt cx="0" cy="0"/>
        </a:xfrm>
      </p:grpSpPr>
      <p:pic>
        <p:nvPicPr>
          <p:cNvPr id="36" name="Picture 29">
            <a:extLst>
              <a:ext uri="{FF2B5EF4-FFF2-40B4-BE49-F238E27FC236}">
                <a16:creationId xmlns:a16="http://schemas.microsoft.com/office/drawing/2014/main" id="{846D00A4-5D58-7AF9-739F-350B9A83093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35" name="Picture Placeholder 34">
            <a:extLst>
              <a:ext uri="{FF2B5EF4-FFF2-40B4-BE49-F238E27FC236}">
                <a16:creationId xmlns:a16="http://schemas.microsoft.com/office/drawing/2014/main" id="{49332472-0F28-EA26-F771-1406E21325B7}"/>
              </a:ext>
            </a:extLst>
          </p:cNvPr>
          <p:cNvSpPr>
            <a:spLocks noGrp="1"/>
          </p:cNvSpPr>
          <p:nvPr>
            <p:ph type="pic" sz="quarter" idx="13" hasCustomPrompt="1"/>
          </p:nvPr>
        </p:nvSpPr>
        <p:spPr>
          <a:xfrm>
            <a:off x="0" y="0"/>
            <a:ext cx="12193200" cy="6861600"/>
          </a:xfrm>
          <a:custGeom>
            <a:avLst/>
            <a:gdLst>
              <a:gd name="connsiteX0" fmla="*/ 1278393 w 12193200"/>
              <a:gd name="connsiteY0" fmla="*/ 6290509 h 6861600"/>
              <a:gd name="connsiteX1" fmla="*/ 1341367 w 12193200"/>
              <a:gd name="connsiteY1" fmla="*/ 6290509 h 6861600"/>
              <a:gd name="connsiteX2" fmla="*/ 1341367 w 12193200"/>
              <a:gd name="connsiteY2" fmla="*/ 6323884 h 6861600"/>
              <a:gd name="connsiteX3" fmla="*/ 1278393 w 12193200"/>
              <a:gd name="connsiteY3" fmla="*/ 6323884 h 6861600"/>
              <a:gd name="connsiteX4" fmla="*/ 1015852 w 12193200"/>
              <a:gd name="connsiteY4" fmla="*/ 6289174 h 6861600"/>
              <a:gd name="connsiteX5" fmla="*/ 1038026 w 12193200"/>
              <a:gd name="connsiteY5" fmla="*/ 6343909 h 6861600"/>
              <a:gd name="connsiteX6" fmla="*/ 993678 w 12193200"/>
              <a:gd name="connsiteY6" fmla="*/ 6343909 h 6861600"/>
              <a:gd name="connsiteX7" fmla="*/ 1542263 w 12193200"/>
              <a:gd name="connsiteY7" fmla="*/ 6265589 h 6861600"/>
              <a:gd name="connsiteX8" fmla="*/ 1542263 w 12193200"/>
              <a:gd name="connsiteY8" fmla="*/ 6393304 h 6861600"/>
              <a:gd name="connsiteX9" fmla="*/ 1572863 w 12193200"/>
              <a:gd name="connsiteY9" fmla="*/ 6393304 h 6861600"/>
              <a:gd name="connsiteX10" fmla="*/ 1572863 w 12193200"/>
              <a:gd name="connsiteY10" fmla="*/ 6334564 h 6861600"/>
              <a:gd name="connsiteX11" fmla="*/ 1630516 w 12193200"/>
              <a:gd name="connsiteY11" fmla="*/ 6393304 h 6861600"/>
              <a:gd name="connsiteX12" fmla="*/ 1672646 w 12193200"/>
              <a:gd name="connsiteY12" fmla="*/ 6393304 h 6861600"/>
              <a:gd name="connsiteX13" fmla="*/ 1603020 w 12193200"/>
              <a:gd name="connsiteY13" fmla="*/ 6325219 h 6861600"/>
              <a:gd name="connsiteX14" fmla="*/ 1669985 w 12193200"/>
              <a:gd name="connsiteY14" fmla="*/ 6265589 h 6861600"/>
              <a:gd name="connsiteX15" fmla="*/ 1629185 w 12193200"/>
              <a:gd name="connsiteY15" fmla="*/ 6265589 h 6861600"/>
              <a:gd name="connsiteX16" fmla="*/ 1572863 w 12193200"/>
              <a:gd name="connsiteY16" fmla="*/ 6317209 h 6861600"/>
              <a:gd name="connsiteX17" fmla="*/ 1572863 w 12193200"/>
              <a:gd name="connsiteY17" fmla="*/ 6265589 h 6861600"/>
              <a:gd name="connsiteX18" fmla="*/ 1248236 w 12193200"/>
              <a:gd name="connsiteY18" fmla="*/ 6265589 h 6861600"/>
              <a:gd name="connsiteX19" fmla="*/ 1248236 w 12193200"/>
              <a:gd name="connsiteY19" fmla="*/ 6393304 h 6861600"/>
              <a:gd name="connsiteX20" fmla="*/ 1278393 w 12193200"/>
              <a:gd name="connsiteY20" fmla="*/ 6393304 h 6861600"/>
              <a:gd name="connsiteX21" fmla="*/ 1278393 w 12193200"/>
              <a:gd name="connsiteY21" fmla="*/ 6349249 h 6861600"/>
              <a:gd name="connsiteX22" fmla="*/ 1311210 w 12193200"/>
              <a:gd name="connsiteY22" fmla="*/ 6349249 h 6861600"/>
              <a:gd name="connsiteX23" fmla="*/ 1338706 w 12193200"/>
              <a:gd name="connsiteY23" fmla="*/ 6393304 h 6861600"/>
              <a:gd name="connsiteX24" fmla="*/ 1371524 w 12193200"/>
              <a:gd name="connsiteY24" fmla="*/ 6393304 h 6861600"/>
              <a:gd name="connsiteX25" fmla="*/ 1342697 w 12193200"/>
              <a:gd name="connsiteY25" fmla="*/ 6349249 h 6861600"/>
              <a:gd name="connsiteX26" fmla="*/ 1345358 w 12193200"/>
              <a:gd name="connsiteY26" fmla="*/ 6349249 h 6861600"/>
              <a:gd name="connsiteX27" fmla="*/ 1370193 w 12193200"/>
              <a:gd name="connsiteY27" fmla="*/ 6329224 h 6861600"/>
              <a:gd name="connsiteX28" fmla="*/ 1370193 w 12193200"/>
              <a:gd name="connsiteY28" fmla="*/ 6286949 h 6861600"/>
              <a:gd name="connsiteX29" fmla="*/ 1349350 w 12193200"/>
              <a:gd name="connsiteY29" fmla="*/ 6265589 h 6861600"/>
              <a:gd name="connsiteX30" fmla="*/ 1104991 w 12193200"/>
              <a:gd name="connsiteY30" fmla="*/ 6265589 h 6861600"/>
              <a:gd name="connsiteX31" fmla="*/ 1104991 w 12193200"/>
              <a:gd name="connsiteY31" fmla="*/ 6393304 h 6861600"/>
              <a:gd name="connsiteX32" fmla="*/ 1226061 w 12193200"/>
              <a:gd name="connsiteY32" fmla="*/ 6393304 h 6861600"/>
              <a:gd name="connsiteX33" fmla="*/ 1226061 w 12193200"/>
              <a:gd name="connsiteY33" fmla="*/ 6367939 h 6861600"/>
              <a:gd name="connsiteX34" fmla="*/ 1133817 w 12193200"/>
              <a:gd name="connsiteY34" fmla="*/ 6367939 h 6861600"/>
              <a:gd name="connsiteX35" fmla="*/ 1133817 w 12193200"/>
              <a:gd name="connsiteY35" fmla="*/ 6341239 h 6861600"/>
              <a:gd name="connsiteX36" fmla="*/ 1212757 w 12193200"/>
              <a:gd name="connsiteY36" fmla="*/ 6341239 h 6861600"/>
              <a:gd name="connsiteX37" fmla="*/ 1212757 w 12193200"/>
              <a:gd name="connsiteY37" fmla="*/ 6315874 h 6861600"/>
              <a:gd name="connsiteX38" fmla="*/ 1133817 w 12193200"/>
              <a:gd name="connsiteY38" fmla="*/ 6315874 h 6861600"/>
              <a:gd name="connsiteX39" fmla="*/ 1133817 w 12193200"/>
              <a:gd name="connsiteY39" fmla="*/ 6290509 h 6861600"/>
              <a:gd name="connsiteX40" fmla="*/ 1224731 w 12193200"/>
              <a:gd name="connsiteY40" fmla="*/ 6290509 h 6861600"/>
              <a:gd name="connsiteX41" fmla="*/ 1224731 w 12193200"/>
              <a:gd name="connsiteY41" fmla="*/ 6265589 h 6861600"/>
              <a:gd name="connsiteX42" fmla="*/ 995895 w 12193200"/>
              <a:gd name="connsiteY42" fmla="*/ 6265589 h 6861600"/>
              <a:gd name="connsiteX43" fmla="*/ 939573 w 12193200"/>
              <a:gd name="connsiteY43" fmla="*/ 6393304 h 6861600"/>
              <a:gd name="connsiteX44" fmla="*/ 972391 w 12193200"/>
              <a:gd name="connsiteY44" fmla="*/ 6393304 h 6861600"/>
              <a:gd name="connsiteX45" fmla="*/ 983034 w 12193200"/>
              <a:gd name="connsiteY45" fmla="*/ 6367939 h 6861600"/>
              <a:gd name="connsiteX46" fmla="*/ 1048669 w 12193200"/>
              <a:gd name="connsiteY46" fmla="*/ 6367939 h 6861600"/>
              <a:gd name="connsiteX47" fmla="*/ 1060643 w 12193200"/>
              <a:gd name="connsiteY47" fmla="*/ 6393304 h 6861600"/>
              <a:gd name="connsiteX48" fmla="*/ 1092130 w 12193200"/>
              <a:gd name="connsiteY48" fmla="*/ 6393304 h 6861600"/>
              <a:gd name="connsiteX49" fmla="*/ 1035365 w 12193200"/>
              <a:gd name="connsiteY49" fmla="*/ 6265589 h 6861600"/>
              <a:gd name="connsiteX50" fmla="*/ 778146 w 12193200"/>
              <a:gd name="connsiteY50" fmla="*/ 6265589 h 6861600"/>
              <a:gd name="connsiteX51" fmla="*/ 778146 w 12193200"/>
              <a:gd name="connsiteY51" fmla="*/ 6393304 h 6861600"/>
              <a:gd name="connsiteX52" fmla="*/ 805642 w 12193200"/>
              <a:gd name="connsiteY52" fmla="*/ 6393304 h 6861600"/>
              <a:gd name="connsiteX53" fmla="*/ 805642 w 12193200"/>
              <a:gd name="connsiteY53" fmla="*/ 6319879 h 6861600"/>
              <a:gd name="connsiteX54" fmla="*/ 838459 w 12193200"/>
              <a:gd name="connsiteY54" fmla="*/ 6393304 h 6861600"/>
              <a:gd name="connsiteX55" fmla="*/ 867286 w 12193200"/>
              <a:gd name="connsiteY55" fmla="*/ 6393304 h 6861600"/>
              <a:gd name="connsiteX56" fmla="*/ 900103 w 12193200"/>
              <a:gd name="connsiteY56" fmla="*/ 6318544 h 6861600"/>
              <a:gd name="connsiteX57" fmla="*/ 900103 w 12193200"/>
              <a:gd name="connsiteY57" fmla="*/ 6393304 h 6861600"/>
              <a:gd name="connsiteX58" fmla="*/ 927599 w 12193200"/>
              <a:gd name="connsiteY58" fmla="*/ 6393304 h 6861600"/>
              <a:gd name="connsiteX59" fmla="*/ 927599 w 12193200"/>
              <a:gd name="connsiteY59" fmla="*/ 6265589 h 6861600"/>
              <a:gd name="connsiteX60" fmla="*/ 894781 w 12193200"/>
              <a:gd name="connsiteY60" fmla="*/ 6265589 h 6861600"/>
              <a:gd name="connsiteX61" fmla="*/ 852651 w 12193200"/>
              <a:gd name="connsiteY61" fmla="*/ 6361264 h 6861600"/>
              <a:gd name="connsiteX62" fmla="*/ 810964 w 12193200"/>
              <a:gd name="connsiteY62" fmla="*/ 6265589 h 6861600"/>
              <a:gd name="connsiteX63" fmla="*/ 1414985 w 12193200"/>
              <a:gd name="connsiteY63" fmla="*/ 6265144 h 6861600"/>
              <a:gd name="connsiteX64" fmla="*/ 1395471 w 12193200"/>
              <a:gd name="connsiteY64" fmla="*/ 6285169 h 6861600"/>
              <a:gd name="connsiteX65" fmla="*/ 1395471 w 12193200"/>
              <a:gd name="connsiteY65" fmla="*/ 6322549 h 6861600"/>
              <a:gd name="connsiteX66" fmla="*/ 1414985 w 12193200"/>
              <a:gd name="connsiteY66" fmla="*/ 6341239 h 6861600"/>
              <a:gd name="connsiteX67" fmla="*/ 1485941 w 12193200"/>
              <a:gd name="connsiteY67" fmla="*/ 6341239 h 6861600"/>
              <a:gd name="connsiteX68" fmla="*/ 1485941 w 12193200"/>
              <a:gd name="connsiteY68" fmla="*/ 6367939 h 6861600"/>
              <a:gd name="connsiteX69" fmla="*/ 1424298 w 12193200"/>
              <a:gd name="connsiteY69" fmla="*/ 6367939 h 6861600"/>
              <a:gd name="connsiteX70" fmla="*/ 1424298 w 12193200"/>
              <a:gd name="connsiteY70" fmla="*/ 6358594 h 6861600"/>
              <a:gd name="connsiteX71" fmla="*/ 1394141 w 12193200"/>
              <a:gd name="connsiteY71" fmla="*/ 6358594 h 6861600"/>
              <a:gd name="connsiteX72" fmla="*/ 1394141 w 12193200"/>
              <a:gd name="connsiteY72" fmla="*/ 6374614 h 6861600"/>
              <a:gd name="connsiteX73" fmla="*/ 1413654 w 12193200"/>
              <a:gd name="connsiteY73" fmla="*/ 6393304 h 6861600"/>
              <a:gd name="connsiteX74" fmla="*/ 1424298 w 12193200"/>
              <a:gd name="connsiteY74" fmla="*/ 6393304 h 6861600"/>
              <a:gd name="connsiteX75" fmla="*/ 1495255 w 12193200"/>
              <a:gd name="connsiteY75" fmla="*/ 6393304 h 6861600"/>
              <a:gd name="connsiteX76" fmla="*/ 1514768 w 12193200"/>
              <a:gd name="connsiteY76" fmla="*/ 6373279 h 6861600"/>
              <a:gd name="connsiteX77" fmla="*/ 1514768 w 12193200"/>
              <a:gd name="connsiteY77" fmla="*/ 6337234 h 6861600"/>
              <a:gd name="connsiteX78" fmla="*/ 1495255 w 12193200"/>
              <a:gd name="connsiteY78" fmla="*/ 6315874 h 6861600"/>
              <a:gd name="connsiteX79" fmla="*/ 1424298 w 12193200"/>
              <a:gd name="connsiteY79" fmla="*/ 6315874 h 6861600"/>
              <a:gd name="connsiteX80" fmla="*/ 1424298 w 12193200"/>
              <a:gd name="connsiteY80" fmla="*/ 6290509 h 6861600"/>
              <a:gd name="connsiteX81" fmla="*/ 1485941 w 12193200"/>
              <a:gd name="connsiteY81" fmla="*/ 6290509 h 6861600"/>
              <a:gd name="connsiteX82" fmla="*/ 1485941 w 12193200"/>
              <a:gd name="connsiteY82" fmla="*/ 6301189 h 6861600"/>
              <a:gd name="connsiteX83" fmla="*/ 1514768 w 12193200"/>
              <a:gd name="connsiteY83" fmla="*/ 6301189 h 6861600"/>
              <a:gd name="connsiteX84" fmla="*/ 1514768 w 12193200"/>
              <a:gd name="connsiteY84" fmla="*/ 6286504 h 6861600"/>
              <a:gd name="connsiteX85" fmla="*/ 1496585 w 12193200"/>
              <a:gd name="connsiteY85" fmla="*/ 6265144 h 6861600"/>
              <a:gd name="connsiteX86" fmla="*/ 418040 w 12193200"/>
              <a:gd name="connsiteY86" fmla="*/ 6184154 h 6861600"/>
              <a:gd name="connsiteX87" fmla="*/ 386553 w 12193200"/>
              <a:gd name="connsiteY87" fmla="*/ 6217529 h 6861600"/>
              <a:gd name="connsiteX88" fmla="*/ 386553 w 12193200"/>
              <a:gd name="connsiteY88" fmla="*/ 6441363 h 6861600"/>
              <a:gd name="connsiteX89" fmla="*/ 418040 w 12193200"/>
              <a:gd name="connsiteY89" fmla="*/ 6474738 h 6861600"/>
              <a:gd name="connsiteX90" fmla="*/ 624259 w 12193200"/>
              <a:gd name="connsiteY90" fmla="*/ 6474738 h 6861600"/>
              <a:gd name="connsiteX91" fmla="*/ 657076 w 12193200"/>
              <a:gd name="connsiteY91" fmla="*/ 6441363 h 6861600"/>
              <a:gd name="connsiteX92" fmla="*/ 657076 w 12193200"/>
              <a:gd name="connsiteY92" fmla="*/ 6217529 h 6861600"/>
              <a:gd name="connsiteX93" fmla="*/ 624259 w 12193200"/>
              <a:gd name="connsiteY93" fmla="*/ 6184154 h 6861600"/>
              <a:gd name="connsiteX94" fmla="*/ 0 w 12193200"/>
              <a:gd name="connsiteY94" fmla="*/ 0 h 6861600"/>
              <a:gd name="connsiteX95" fmla="*/ 12193200 w 12193200"/>
              <a:gd name="connsiteY95" fmla="*/ 0 h 6861600"/>
              <a:gd name="connsiteX96" fmla="*/ 12193200 w 12193200"/>
              <a:gd name="connsiteY96" fmla="*/ 6861600 h 6861600"/>
              <a:gd name="connsiteX97" fmla="*/ 0 w 12193200"/>
              <a:gd name="connsiteY9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193200" h="6861600">
                <a:moveTo>
                  <a:pt x="1278393" y="6290509"/>
                </a:moveTo>
                <a:lnTo>
                  <a:pt x="1341367" y="6290509"/>
                </a:lnTo>
                <a:lnTo>
                  <a:pt x="1341367" y="6323884"/>
                </a:lnTo>
                <a:lnTo>
                  <a:pt x="1278393" y="6323884"/>
                </a:lnTo>
                <a:close/>
                <a:moveTo>
                  <a:pt x="1015852" y="6289174"/>
                </a:moveTo>
                <a:lnTo>
                  <a:pt x="1038026" y="6343909"/>
                </a:lnTo>
                <a:lnTo>
                  <a:pt x="993678" y="6343909"/>
                </a:lnTo>
                <a:close/>
                <a:moveTo>
                  <a:pt x="1542263" y="6265589"/>
                </a:moveTo>
                <a:lnTo>
                  <a:pt x="1542263" y="6393304"/>
                </a:lnTo>
                <a:lnTo>
                  <a:pt x="1572863" y="6393304"/>
                </a:lnTo>
                <a:lnTo>
                  <a:pt x="1572863" y="6334564"/>
                </a:lnTo>
                <a:lnTo>
                  <a:pt x="1630516" y="6393304"/>
                </a:lnTo>
                <a:lnTo>
                  <a:pt x="1672646" y="6393304"/>
                </a:lnTo>
                <a:lnTo>
                  <a:pt x="1603020" y="6325219"/>
                </a:lnTo>
                <a:lnTo>
                  <a:pt x="1669985" y="6265589"/>
                </a:lnTo>
                <a:lnTo>
                  <a:pt x="1629185" y="6265589"/>
                </a:lnTo>
                <a:lnTo>
                  <a:pt x="1572863" y="6317209"/>
                </a:lnTo>
                <a:lnTo>
                  <a:pt x="1572863" y="6265589"/>
                </a:lnTo>
                <a:close/>
                <a:moveTo>
                  <a:pt x="1248236" y="6265589"/>
                </a:moveTo>
                <a:lnTo>
                  <a:pt x="1248236" y="6393304"/>
                </a:lnTo>
                <a:lnTo>
                  <a:pt x="1278393" y="6393304"/>
                </a:lnTo>
                <a:lnTo>
                  <a:pt x="1278393" y="6349249"/>
                </a:lnTo>
                <a:lnTo>
                  <a:pt x="1311210" y="6349249"/>
                </a:lnTo>
                <a:lnTo>
                  <a:pt x="1338706" y="6393304"/>
                </a:lnTo>
                <a:lnTo>
                  <a:pt x="1371524" y="6393304"/>
                </a:lnTo>
                <a:lnTo>
                  <a:pt x="1342697" y="6349249"/>
                </a:lnTo>
                <a:lnTo>
                  <a:pt x="1345358" y="6349249"/>
                </a:lnTo>
                <a:cubicBezTo>
                  <a:pt x="1362210" y="6349249"/>
                  <a:pt x="1370193" y="6339904"/>
                  <a:pt x="1370193" y="6329224"/>
                </a:cubicBezTo>
                <a:lnTo>
                  <a:pt x="1370193" y="6286949"/>
                </a:lnTo>
                <a:cubicBezTo>
                  <a:pt x="1370193" y="6273599"/>
                  <a:pt x="1362210" y="6265589"/>
                  <a:pt x="1349350" y="6265589"/>
                </a:cubicBezTo>
                <a:close/>
                <a:moveTo>
                  <a:pt x="1104991" y="6265589"/>
                </a:moveTo>
                <a:lnTo>
                  <a:pt x="1104991" y="6393304"/>
                </a:lnTo>
                <a:lnTo>
                  <a:pt x="1226061" y="6393304"/>
                </a:lnTo>
                <a:lnTo>
                  <a:pt x="1226061" y="6367939"/>
                </a:lnTo>
                <a:lnTo>
                  <a:pt x="1133817" y="6367939"/>
                </a:lnTo>
                <a:lnTo>
                  <a:pt x="1133817" y="6341239"/>
                </a:lnTo>
                <a:lnTo>
                  <a:pt x="1212757" y="6341239"/>
                </a:lnTo>
                <a:lnTo>
                  <a:pt x="1212757" y="6315874"/>
                </a:lnTo>
                <a:lnTo>
                  <a:pt x="1133817" y="6315874"/>
                </a:lnTo>
                <a:lnTo>
                  <a:pt x="1133817" y="6290509"/>
                </a:lnTo>
                <a:lnTo>
                  <a:pt x="1224731" y="6290509"/>
                </a:lnTo>
                <a:lnTo>
                  <a:pt x="1224731" y="6265589"/>
                </a:lnTo>
                <a:close/>
                <a:moveTo>
                  <a:pt x="995895" y="6265589"/>
                </a:moveTo>
                <a:lnTo>
                  <a:pt x="939573" y="6393304"/>
                </a:lnTo>
                <a:lnTo>
                  <a:pt x="972391" y="6393304"/>
                </a:lnTo>
                <a:lnTo>
                  <a:pt x="983034" y="6367939"/>
                </a:lnTo>
                <a:lnTo>
                  <a:pt x="1048669" y="6367939"/>
                </a:lnTo>
                <a:lnTo>
                  <a:pt x="1060643" y="6393304"/>
                </a:lnTo>
                <a:lnTo>
                  <a:pt x="1092130" y="6393304"/>
                </a:lnTo>
                <a:lnTo>
                  <a:pt x="1035365" y="6265589"/>
                </a:lnTo>
                <a:close/>
                <a:moveTo>
                  <a:pt x="778146" y="6265589"/>
                </a:moveTo>
                <a:lnTo>
                  <a:pt x="778146" y="6393304"/>
                </a:lnTo>
                <a:lnTo>
                  <a:pt x="805642" y="6393304"/>
                </a:lnTo>
                <a:lnTo>
                  <a:pt x="805642" y="6319879"/>
                </a:lnTo>
                <a:lnTo>
                  <a:pt x="838459" y="6393304"/>
                </a:lnTo>
                <a:lnTo>
                  <a:pt x="867286" y="6393304"/>
                </a:lnTo>
                <a:lnTo>
                  <a:pt x="900103" y="6318544"/>
                </a:lnTo>
                <a:lnTo>
                  <a:pt x="900103" y="6393304"/>
                </a:lnTo>
                <a:lnTo>
                  <a:pt x="927599" y="6393304"/>
                </a:lnTo>
                <a:lnTo>
                  <a:pt x="927599" y="6265589"/>
                </a:lnTo>
                <a:lnTo>
                  <a:pt x="894781" y="6265589"/>
                </a:lnTo>
                <a:lnTo>
                  <a:pt x="852651" y="6361264"/>
                </a:lnTo>
                <a:lnTo>
                  <a:pt x="810964" y="6265589"/>
                </a:lnTo>
                <a:close/>
                <a:moveTo>
                  <a:pt x="1414985" y="6265144"/>
                </a:moveTo>
                <a:cubicBezTo>
                  <a:pt x="1404785" y="6265144"/>
                  <a:pt x="1395471" y="6273154"/>
                  <a:pt x="1395471" y="6285169"/>
                </a:cubicBezTo>
                <a:lnTo>
                  <a:pt x="1395471" y="6322549"/>
                </a:lnTo>
                <a:cubicBezTo>
                  <a:pt x="1395471" y="6333229"/>
                  <a:pt x="1403011" y="6341239"/>
                  <a:pt x="1414985" y="6341239"/>
                </a:cubicBezTo>
                <a:lnTo>
                  <a:pt x="1485941" y="6341239"/>
                </a:lnTo>
                <a:lnTo>
                  <a:pt x="1485941" y="6367939"/>
                </a:lnTo>
                <a:lnTo>
                  <a:pt x="1424298" y="6367939"/>
                </a:lnTo>
                <a:lnTo>
                  <a:pt x="1424298" y="6358594"/>
                </a:lnTo>
                <a:lnTo>
                  <a:pt x="1394141" y="6358594"/>
                </a:lnTo>
                <a:lnTo>
                  <a:pt x="1394141" y="6374614"/>
                </a:lnTo>
                <a:cubicBezTo>
                  <a:pt x="1394141" y="6385294"/>
                  <a:pt x="1400350" y="6393304"/>
                  <a:pt x="1413654" y="6393304"/>
                </a:cubicBezTo>
                <a:lnTo>
                  <a:pt x="1424298" y="6393304"/>
                </a:lnTo>
                <a:lnTo>
                  <a:pt x="1495255" y="6393304"/>
                </a:lnTo>
                <a:cubicBezTo>
                  <a:pt x="1508115" y="6393304"/>
                  <a:pt x="1514768" y="6385294"/>
                  <a:pt x="1514768" y="6373279"/>
                </a:cubicBezTo>
                <a:lnTo>
                  <a:pt x="1514768" y="6337234"/>
                </a:lnTo>
                <a:cubicBezTo>
                  <a:pt x="1514768" y="6323884"/>
                  <a:pt x="1505898" y="6315874"/>
                  <a:pt x="1495255" y="6315874"/>
                </a:cubicBezTo>
                <a:lnTo>
                  <a:pt x="1424298" y="6315874"/>
                </a:lnTo>
                <a:lnTo>
                  <a:pt x="1424298" y="6290509"/>
                </a:lnTo>
                <a:lnTo>
                  <a:pt x="1485941" y="6290509"/>
                </a:lnTo>
                <a:lnTo>
                  <a:pt x="1485941" y="6301189"/>
                </a:lnTo>
                <a:lnTo>
                  <a:pt x="1514768" y="6301189"/>
                </a:lnTo>
                <a:lnTo>
                  <a:pt x="1514768" y="6286504"/>
                </a:lnTo>
                <a:cubicBezTo>
                  <a:pt x="1514768" y="6273154"/>
                  <a:pt x="1507229" y="6265144"/>
                  <a:pt x="1496585" y="6265144"/>
                </a:cubicBezTo>
                <a:close/>
                <a:moveTo>
                  <a:pt x="418040" y="6184154"/>
                </a:moveTo>
                <a:cubicBezTo>
                  <a:pt x="401188" y="6184154"/>
                  <a:pt x="386553" y="6198839"/>
                  <a:pt x="386553" y="6217529"/>
                </a:cubicBezTo>
                <a:lnTo>
                  <a:pt x="386553" y="6441363"/>
                </a:lnTo>
                <a:cubicBezTo>
                  <a:pt x="386553" y="6460053"/>
                  <a:pt x="401188" y="6474738"/>
                  <a:pt x="418040" y="6474738"/>
                </a:cubicBezTo>
                <a:lnTo>
                  <a:pt x="624259" y="6474738"/>
                </a:lnTo>
                <a:cubicBezTo>
                  <a:pt x="642441" y="6474738"/>
                  <a:pt x="657076" y="6460053"/>
                  <a:pt x="657076" y="6441363"/>
                </a:cubicBezTo>
                <a:cubicBezTo>
                  <a:pt x="657076" y="6441363"/>
                  <a:pt x="657076" y="6217529"/>
                  <a:pt x="657076" y="6217529"/>
                </a:cubicBezTo>
                <a:cubicBezTo>
                  <a:pt x="657076" y="6198839"/>
                  <a:pt x="642441" y="6184154"/>
                  <a:pt x="624259" y="6184154"/>
                </a:cubicBezTo>
                <a:close/>
                <a:moveTo>
                  <a:pt x="0" y="0"/>
                </a:moveTo>
                <a:lnTo>
                  <a:pt x="12193200" y="0"/>
                </a:lnTo>
                <a:lnTo>
                  <a:pt x="12193200" y="6861600"/>
                </a:lnTo>
                <a:lnTo>
                  <a:pt x="0" y="6861600"/>
                </a:lnTo>
                <a:close/>
              </a:path>
            </a:pathLst>
          </a:custGeom>
          <a:solidFill>
            <a:schemeClr val="bg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3" name="Title 1">
            <a:extLst>
              <a:ext uri="{FF2B5EF4-FFF2-40B4-BE49-F238E27FC236}">
                <a16:creationId xmlns:a16="http://schemas.microsoft.com/office/drawing/2014/main" id="{FF127482-2C9F-A700-BD57-7C8E383A1CCB}"/>
              </a:ext>
            </a:extLst>
          </p:cNvPr>
          <p:cNvSpPr>
            <a:spLocks noGrp="1"/>
          </p:cNvSpPr>
          <p:nvPr>
            <p:ph type="ctrTitle" hasCustomPrompt="1"/>
          </p:nvPr>
        </p:nvSpPr>
        <p:spPr>
          <a:xfrm>
            <a:off x="371475" y="2732088"/>
            <a:ext cx="5602288" cy="1816100"/>
          </a:xfrm>
        </p:spPr>
        <p:txBody>
          <a:bodyPr anchor="t"/>
          <a:lstStyle>
            <a:lvl1pPr algn="l">
              <a:defRPr sz="4000">
                <a:solidFill>
                  <a:schemeClr val="tx1"/>
                </a:solidFill>
              </a:defRPr>
            </a:lvl1pPr>
          </a:lstStyle>
          <a:p>
            <a:r>
              <a:rPr lang="en-GB"/>
              <a:t>Click to add title</a:t>
            </a:r>
          </a:p>
        </p:txBody>
      </p:sp>
    </p:spTree>
    <p:extLst>
      <p:ext uri="{BB962C8B-B14F-4D97-AF65-F5344CB8AC3E}">
        <p14:creationId xmlns:p14="http://schemas.microsoft.com/office/powerpoint/2010/main" val="33627702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bleed image D">
    <p:bg>
      <p:bgPr>
        <a:solidFill>
          <a:schemeClr val="accent1"/>
        </a:solidFill>
        <a:effectLst/>
      </p:bgPr>
    </p:bg>
    <p:spTree>
      <p:nvGrpSpPr>
        <p:cNvPr id="1" name=""/>
        <p:cNvGrpSpPr/>
        <p:nvPr/>
      </p:nvGrpSpPr>
      <p:grpSpPr>
        <a:xfrm>
          <a:off x="0" y="0"/>
          <a:ext cx="0" cy="0"/>
          <a:chOff x="0" y="0"/>
          <a:chExt cx="0" cy="0"/>
        </a:xfrm>
      </p:grpSpPr>
      <p:pic>
        <p:nvPicPr>
          <p:cNvPr id="36" name="Picture 29">
            <a:extLst>
              <a:ext uri="{FF2B5EF4-FFF2-40B4-BE49-F238E27FC236}">
                <a16:creationId xmlns:a16="http://schemas.microsoft.com/office/drawing/2014/main" id="{93463033-2BA7-8B6D-E344-6BC41ADCAF5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5850"/>
            <a:ext cx="1299398" cy="320400"/>
          </a:xfrm>
          <a:prstGeom prst="rect">
            <a:avLst/>
          </a:prstGeom>
        </p:spPr>
      </p:pic>
      <p:sp>
        <p:nvSpPr>
          <p:cNvPr id="34" name="Picture Placeholder 33">
            <a:extLst>
              <a:ext uri="{FF2B5EF4-FFF2-40B4-BE49-F238E27FC236}">
                <a16:creationId xmlns:a16="http://schemas.microsoft.com/office/drawing/2014/main" id="{9DBF40FC-CB42-D9BB-1080-C75078CBEAB8}"/>
              </a:ext>
            </a:extLst>
          </p:cNvPr>
          <p:cNvSpPr>
            <a:spLocks noGrp="1"/>
          </p:cNvSpPr>
          <p:nvPr>
            <p:ph type="pic" sz="quarter" idx="13" hasCustomPrompt="1"/>
          </p:nvPr>
        </p:nvSpPr>
        <p:spPr>
          <a:xfrm>
            <a:off x="0" y="0"/>
            <a:ext cx="12193200" cy="6861600"/>
          </a:xfrm>
          <a:custGeom>
            <a:avLst/>
            <a:gdLst>
              <a:gd name="connsiteX0" fmla="*/ 657189 w 12193200"/>
              <a:gd name="connsiteY0" fmla="*/ 6441263 h 6861600"/>
              <a:gd name="connsiteX1" fmla="*/ 657189 w 12193200"/>
              <a:gd name="connsiteY1" fmla="*/ 6441264 h 6861600"/>
              <a:gd name="connsiteX2" fmla="*/ 624342 w 12193200"/>
              <a:gd name="connsiteY2" fmla="*/ 6474551 h 6861600"/>
              <a:gd name="connsiteX3" fmla="*/ 624340 w 12193200"/>
              <a:gd name="connsiteY3" fmla="*/ 6474551 h 6861600"/>
              <a:gd name="connsiteX4" fmla="*/ 657189 w 12193200"/>
              <a:gd name="connsiteY4" fmla="*/ 6441263 h 6861600"/>
              <a:gd name="connsiteX5" fmla="*/ 386560 w 12193200"/>
              <a:gd name="connsiteY5" fmla="*/ 6441263 h 6861600"/>
              <a:gd name="connsiteX6" fmla="*/ 389769 w 12193200"/>
              <a:gd name="connsiteY6" fmla="*/ 6449342 h 6861600"/>
              <a:gd name="connsiteX7" fmla="*/ 386560 w 12193200"/>
              <a:gd name="connsiteY7" fmla="*/ 6441264 h 6861600"/>
              <a:gd name="connsiteX8" fmla="*/ 1278445 w 12193200"/>
              <a:gd name="connsiteY8" fmla="*/ 6290703 h 6861600"/>
              <a:gd name="connsiteX9" fmla="*/ 1341508 w 12193200"/>
              <a:gd name="connsiteY9" fmla="*/ 6290703 h 6861600"/>
              <a:gd name="connsiteX10" fmla="*/ 1341508 w 12193200"/>
              <a:gd name="connsiteY10" fmla="*/ 6323993 h 6861600"/>
              <a:gd name="connsiteX11" fmla="*/ 1278445 w 12193200"/>
              <a:gd name="connsiteY11" fmla="*/ 6323993 h 6861600"/>
              <a:gd name="connsiteX12" fmla="*/ 1015767 w 12193200"/>
              <a:gd name="connsiteY12" fmla="*/ 6289390 h 6861600"/>
              <a:gd name="connsiteX13" fmla="*/ 1038029 w 12193200"/>
              <a:gd name="connsiteY13" fmla="*/ 6344031 h 6861600"/>
              <a:gd name="connsiteX14" fmla="*/ 993415 w 12193200"/>
              <a:gd name="connsiteY14" fmla="*/ 6344031 h 6861600"/>
              <a:gd name="connsiteX15" fmla="*/ 1542399 w 12193200"/>
              <a:gd name="connsiteY15" fmla="*/ 6265409 h 6861600"/>
              <a:gd name="connsiteX16" fmla="*/ 1542399 w 12193200"/>
              <a:gd name="connsiteY16" fmla="*/ 6393302 h 6861600"/>
              <a:gd name="connsiteX17" fmla="*/ 1572649 w 12193200"/>
              <a:gd name="connsiteY17" fmla="*/ 6393302 h 6861600"/>
              <a:gd name="connsiteX18" fmla="*/ 1572649 w 12193200"/>
              <a:gd name="connsiteY18" fmla="*/ 6334722 h 6861600"/>
              <a:gd name="connsiteX19" fmla="*/ 1630474 w 12193200"/>
              <a:gd name="connsiteY19" fmla="*/ 6393302 h 6861600"/>
              <a:gd name="connsiteX20" fmla="*/ 1672471 w 12193200"/>
              <a:gd name="connsiteY20" fmla="*/ 6393302 h 6861600"/>
              <a:gd name="connsiteX21" fmla="*/ 1602845 w 12193200"/>
              <a:gd name="connsiteY21" fmla="*/ 6325413 h 6861600"/>
              <a:gd name="connsiteX22" fmla="*/ 1669855 w 12193200"/>
              <a:gd name="connsiteY22" fmla="*/ 6265409 h 6861600"/>
              <a:gd name="connsiteX23" fmla="*/ 1629144 w 12193200"/>
              <a:gd name="connsiteY23" fmla="*/ 6265409 h 6861600"/>
              <a:gd name="connsiteX24" fmla="*/ 1572649 w 12193200"/>
              <a:gd name="connsiteY24" fmla="*/ 6317420 h 6861600"/>
              <a:gd name="connsiteX25" fmla="*/ 1572649 w 12193200"/>
              <a:gd name="connsiteY25" fmla="*/ 6265409 h 6861600"/>
              <a:gd name="connsiteX26" fmla="*/ 1415032 w 12193200"/>
              <a:gd name="connsiteY26" fmla="*/ 6265409 h 6861600"/>
              <a:gd name="connsiteX27" fmla="*/ 1395297 w 12193200"/>
              <a:gd name="connsiteY27" fmla="*/ 6285447 h 6861600"/>
              <a:gd name="connsiteX28" fmla="*/ 1395297 w 12193200"/>
              <a:gd name="connsiteY28" fmla="*/ 6322676 h 6861600"/>
              <a:gd name="connsiteX29" fmla="*/ 1415032 w 12193200"/>
              <a:gd name="connsiteY29" fmla="*/ 6341401 h 6861600"/>
              <a:gd name="connsiteX30" fmla="*/ 1485989 w 12193200"/>
              <a:gd name="connsiteY30" fmla="*/ 6341401 h 6861600"/>
              <a:gd name="connsiteX31" fmla="*/ 1485989 w 12193200"/>
              <a:gd name="connsiteY31" fmla="*/ 6368008 h 6861600"/>
              <a:gd name="connsiteX32" fmla="*/ 1424212 w 12193200"/>
              <a:gd name="connsiteY32" fmla="*/ 6368008 h 6861600"/>
              <a:gd name="connsiteX33" fmla="*/ 1424212 w 12193200"/>
              <a:gd name="connsiteY33" fmla="*/ 6358703 h 6861600"/>
              <a:gd name="connsiteX34" fmla="*/ 1394011 w 12193200"/>
              <a:gd name="connsiteY34" fmla="*/ 6358703 h 6861600"/>
              <a:gd name="connsiteX35" fmla="*/ 1394011 w 12193200"/>
              <a:gd name="connsiteY35" fmla="*/ 6374687 h 6861600"/>
              <a:gd name="connsiteX36" fmla="*/ 1413746 w 12193200"/>
              <a:gd name="connsiteY36" fmla="*/ 6393302 h 6861600"/>
              <a:gd name="connsiteX37" fmla="*/ 1424212 w 12193200"/>
              <a:gd name="connsiteY37" fmla="*/ 6393302 h 6861600"/>
              <a:gd name="connsiteX38" fmla="*/ 1495169 w 12193200"/>
              <a:gd name="connsiteY38" fmla="*/ 6393302 h 6861600"/>
              <a:gd name="connsiteX39" fmla="*/ 1514770 w 12193200"/>
              <a:gd name="connsiteY39" fmla="*/ 6373375 h 6861600"/>
              <a:gd name="connsiteX40" fmla="*/ 1514770 w 12193200"/>
              <a:gd name="connsiteY40" fmla="*/ 6337352 h 6861600"/>
              <a:gd name="connsiteX41" fmla="*/ 1495169 w 12193200"/>
              <a:gd name="connsiteY41" fmla="*/ 6315996 h 6861600"/>
              <a:gd name="connsiteX42" fmla="*/ 1424212 w 12193200"/>
              <a:gd name="connsiteY42" fmla="*/ 6315996 h 6861600"/>
              <a:gd name="connsiteX43" fmla="*/ 1424212 w 12193200"/>
              <a:gd name="connsiteY43" fmla="*/ 6290703 h 6861600"/>
              <a:gd name="connsiteX44" fmla="*/ 1485989 w 12193200"/>
              <a:gd name="connsiteY44" fmla="*/ 6290703 h 6861600"/>
              <a:gd name="connsiteX45" fmla="*/ 1485989 w 12193200"/>
              <a:gd name="connsiteY45" fmla="*/ 6301436 h 6861600"/>
              <a:gd name="connsiteX46" fmla="*/ 1514770 w 12193200"/>
              <a:gd name="connsiteY46" fmla="*/ 6301436 h 6861600"/>
              <a:gd name="connsiteX47" fmla="*/ 1514770 w 12193200"/>
              <a:gd name="connsiteY47" fmla="*/ 6286760 h 6861600"/>
              <a:gd name="connsiteX48" fmla="*/ 1496455 w 12193200"/>
              <a:gd name="connsiteY48" fmla="*/ 6265409 h 6861600"/>
              <a:gd name="connsiteX49" fmla="*/ 1248195 w 12193200"/>
              <a:gd name="connsiteY49" fmla="*/ 6265409 h 6861600"/>
              <a:gd name="connsiteX50" fmla="*/ 1248195 w 12193200"/>
              <a:gd name="connsiteY50" fmla="*/ 6393302 h 6861600"/>
              <a:gd name="connsiteX51" fmla="*/ 1278445 w 12193200"/>
              <a:gd name="connsiteY51" fmla="*/ 6393302 h 6861600"/>
              <a:gd name="connsiteX52" fmla="*/ 1278445 w 12193200"/>
              <a:gd name="connsiteY52" fmla="*/ 6349394 h 6861600"/>
              <a:gd name="connsiteX53" fmla="*/ 1311258 w 12193200"/>
              <a:gd name="connsiteY53" fmla="*/ 6349394 h 6861600"/>
              <a:gd name="connsiteX54" fmla="*/ 1338887 w 12193200"/>
              <a:gd name="connsiteY54" fmla="*/ 6393302 h 6861600"/>
              <a:gd name="connsiteX55" fmla="*/ 1371615 w 12193200"/>
              <a:gd name="connsiteY55" fmla="*/ 6393302 h 6861600"/>
              <a:gd name="connsiteX56" fmla="*/ 1342834 w 12193200"/>
              <a:gd name="connsiteY56" fmla="*/ 6349394 h 6861600"/>
              <a:gd name="connsiteX57" fmla="*/ 1345454 w 12193200"/>
              <a:gd name="connsiteY57" fmla="*/ 6349394 h 6861600"/>
              <a:gd name="connsiteX58" fmla="*/ 1370334 w 12193200"/>
              <a:gd name="connsiteY58" fmla="*/ 6329355 h 6861600"/>
              <a:gd name="connsiteX59" fmla="*/ 1370334 w 12193200"/>
              <a:gd name="connsiteY59" fmla="*/ 6286760 h 6861600"/>
              <a:gd name="connsiteX60" fmla="*/ 1349353 w 12193200"/>
              <a:gd name="connsiteY60" fmla="*/ 6265409 h 6861600"/>
              <a:gd name="connsiteX61" fmla="*/ 1105039 w 12193200"/>
              <a:gd name="connsiteY61" fmla="*/ 6265409 h 6861600"/>
              <a:gd name="connsiteX62" fmla="*/ 1105039 w 12193200"/>
              <a:gd name="connsiteY62" fmla="*/ 6393302 h 6861600"/>
              <a:gd name="connsiteX63" fmla="*/ 1225847 w 12193200"/>
              <a:gd name="connsiteY63" fmla="*/ 6393302 h 6861600"/>
              <a:gd name="connsiteX64" fmla="*/ 1225847 w 12193200"/>
              <a:gd name="connsiteY64" fmla="*/ 6368008 h 6861600"/>
              <a:gd name="connsiteX65" fmla="*/ 1133954 w 12193200"/>
              <a:gd name="connsiteY65" fmla="*/ 6368008 h 6861600"/>
              <a:gd name="connsiteX66" fmla="*/ 1133954 w 12193200"/>
              <a:gd name="connsiteY66" fmla="*/ 6341401 h 6861600"/>
              <a:gd name="connsiteX67" fmla="*/ 1212716 w 12193200"/>
              <a:gd name="connsiteY67" fmla="*/ 6341401 h 6861600"/>
              <a:gd name="connsiteX68" fmla="*/ 1212716 w 12193200"/>
              <a:gd name="connsiteY68" fmla="*/ 6315996 h 6861600"/>
              <a:gd name="connsiteX69" fmla="*/ 1133954 w 12193200"/>
              <a:gd name="connsiteY69" fmla="*/ 6315996 h 6861600"/>
              <a:gd name="connsiteX70" fmla="*/ 1133954 w 12193200"/>
              <a:gd name="connsiteY70" fmla="*/ 6290703 h 6861600"/>
              <a:gd name="connsiteX71" fmla="*/ 1224512 w 12193200"/>
              <a:gd name="connsiteY71" fmla="*/ 6290703 h 6861600"/>
              <a:gd name="connsiteX72" fmla="*/ 1224512 w 12193200"/>
              <a:gd name="connsiteY72" fmla="*/ 6265409 h 6861600"/>
              <a:gd name="connsiteX73" fmla="*/ 996032 w 12193200"/>
              <a:gd name="connsiteY73" fmla="*/ 6265409 h 6861600"/>
              <a:gd name="connsiteX74" fmla="*/ 939577 w 12193200"/>
              <a:gd name="connsiteY74" fmla="*/ 6393302 h 6861600"/>
              <a:gd name="connsiteX75" fmla="*/ 972350 w 12193200"/>
              <a:gd name="connsiteY75" fmla="*/ 6393302 h 6861600"/>
              <a:gd name="connsiteX76" fmla="*/ 982905 w 12193200"/>
              <a:gd name="connsiteY76" fmla="*/ 6368008 h 6861600"/>
              <a:gd name="connsiteX77" fmla="*/ 1048629 w 12193200"/>
              <a:gd name="connsiteY77" fmla="*/ 6368008 h 6861600"/>
              <a:gd name="connsiteX78" fmla="*/ 1060381 w 12193200"/>
              <a:gd name="connsiteY78" fmla="*/ 6393302 h 6861600"/>
              <a:gd name="connsiteX79" fmla="*/ 1091957 w 12193200"/>
              <a:gd name="connsiteY79" fmla="*/ 6393302 h 6861600"/>
              <a:gd name="connsiteX80" fmla="*/ 1035413 w 12193200"/>
              <a:gd name="connsiteY80" fmla="*/ 6265409 h 6861600"/>
              <a:gd name="connsiteX81" fmla="*/ 777989 w 12193200"/>
              <a:gd name="connsiteY81" fmla="*/ 6265409 h 6861600"/>
              <a:gd name="connsiteX82" fmla="*/ 777989 w 12193200"/>
              <a:gd name="connsiteY82" fmla="*/ 6393302 h 6861600"/>
              <a:gd name="connsiteX83" fmla="*/ 805596 w 12193200"/>
              <a:gd name="connsiteY83" fmla="*/ 6393302 h 6861600"/>
              <a:gd name="connsiteX84" fmla="*/ 805596 w 12193200"/>
              <a:gd name="connsiteY84" fmla="*/ 6320050 h 6861600"/>
              <a:gd name="connsiteX85" fmla="*/ 838420 w 12193200"/>
              <a:gd name="connsiteY85" fmla="*/ 6393302 h 6861600"/>
              <a:gd name="connsiteX86" fmla="*/ 867379 w 12193200"/>
              <a:gd name="connsiteY86" fmla="*/ 6393302 h 6861600"/>
              <a:gd name="connsiteX87" fmla="*/ 900108 w 12193200"/>
              <a:gd name="connsiteY87" fmla="*/ 6318738 h 6861600"/>
              <a:gd name="connsiteX88" fmla="*/ 900108 w 12193200"/>
              <a:gd name="connsiteY88" fmla="*/ 6393302 h 6861600"/>
              <a:gd name="connsiteX89" fmla="*/ 927692 w 12193200"/>
              <a:gd name="connsiteY89" fmla="*/ 6393302 h 6861600"/>
              <a:gd name="connsiteX90" fmla="*/ 927692 w 12193200"/>
              <a:gd name="connsiteY90" fmla="*/ 6265409 h 6861600"/>
              <a:gd name="connsiteX91" fmla="*/ 894875 w 12193200"/>
              <a:gd name="connsiteY91" fmla="*/ 6265409 h 6861600"/>
              <a:gd name="connsiteX92" fmla="*/ 852833 w 12193200"/>
              <a:gd name="connsiteY92" fmla="*/ 6361328 h 6861600"/>
              <a:gd name="connsiteX93" fmla="*/ 810833 w 12193200"/>
              <a:gd name="connsiteY93" fmla="*/ 6265409 h 6861600"/>
              <a:gd name="connsiteX94" fmla="*/ 418098 w 12193200"/>
              <a:gd name="connsiteY94" fmla="*/ 6169025 h 6861600"/>
              <a:gd name="connsiteX95" fmla="*/ 371476 w 12193200"/>
              <a:gd name="connsiteY95" fmla="*/ 6217452 h 6861600"/>
              <a:gd name="connsiteX96" fmla="*/ 371476 w 12193200"/>
              <a:gd name="connsiteY96" fmla="*/ 6441264 h 6861600"/>
              <a:gd name="connsiteX97" fmla="*/ 418098 w 12193200"/>
              <a:gd name="connsiteY97" fmla="*/ 6489688 h 6861600"/>
              <a:gd name="connsiteX98" fmla="*/ 624342 w 12193200"/>
              <a:gd name="connsiteY98" fmla="*/ 6489688 h 6861600"/>
              <a:gd name="connsiteX99" fmla="*/ 672274 w 12193200"/>
              <a:gd name="connsiteY99" fmla="*/ 6441264 h 6861600"/>
              <a:gd name="connsiteX100" fmla="*/ 672274 w 12193200"/>
              <a:gd name="connsiteY100" fmla="*/ 6217452 h 6861600"/>
              <a:gd name="connsiteX101" fmla="*/ 624342 w 12193200"/>
              <a:gd name="connsiteY101" fmla="*/ 6169025 h 6861600"/>
              <a:gd name="connsiteX102" fmla="*/ 0 w 12193200"/>
              <a:gd name="connsiteY102" fmla="*/ 0 h 6861600"/>
              <a:gd name="connsiteX103" fmla="*/ 12193200 w 12193200"/>
              <a:gd name="connsiteY103" fmla="*/ 0 h 6861600"/>
              <a:gd name="connsiteX104" fmla="*/ 12193200 w 12193200"/>
              <a:gd name="connsiteY104" fmla="*/ 6861600 h 6861600"/>
              <a:gd name="connsiteX105" fmla="*/ 0 w 12193200"/>
              <a:gd name="connsiteY105"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2193200" h="6861600">
                <a:moveTo>
                  <a:pt x="657189" y="6441263"/>
                </a:moveTo>
                <a:lnTo>
                  <a:pt x="657189" y="6441264"/>
                </a:lnTo>
                <a:cubicBezTo>
                  <a:pt x="657189" y="6459879"/>
                  <a:pt x="642674" y="6474551"/>
                  <a:pt x="624342" y="6474551"/>
                </a:cubicBezTo>
                <a:lnTo>
                  <a:pt x="624340" y="6474551"/>
                </a:lnTo>
                <a:cubicBezTo>
                  <a:pt x="642674" y="6474551"/>
                  <a:pt x="657189" y="6459878"/>
                  <a:pt x="657189" y="6441263"/>
                </a:cubicBezTo>
                <a:close/>
                <a:moveTo>
                  <a:pt x="386560" y="6441263"/>
                </a:moveTo>
                <a:lnTo>
                  <a:pt x="389769" y="6449342"/>
                </a:lnTo>
                <a:lnTo>
                  <a:pt x="386560" y="6441264"/>
                </a:lnTo>
                <a:close/>
                <a:moveTo>
                  <a:pt x="1278445" y="6290703"/>
                </a:moveTo>
                <a:lnTo>
                  <a:pt x="1341508" y="6290703"/>
                </a:lnTo>
                <a:lnTo>
                  <a:pt x="1341508" y="6323993"/>
                </a:lnTo>
                <a:lnTo>
                  <a:pt x="1278445" y="6323993"/>
                </a:lnTo>
                <a:close/>
                <a:moveTo>
                  <a:pt x="1015767" y="6289390"/>
                </a:moveTo>
                <a:lnTo>
                  <a:pt x="1038029" y="6344031"/>
                </a:lnTo>
                <a:lnTo>
                  <a:pt x="993415" y="6344031"/>
                </a:lnTo>
                <a:close/>
                <a:moveTo>
                  <a:pt x="1542399" y="6265409"/>
                </a:moveTo>
                <a:lnTo>
                  <a:pt x="1542399" y="6393302"/>
                </a:lnTo>
                <a:lnTo>
                  <a:pt x="1572649" y="6393302"/>
                </a:lnTo>
                <a:lnTo>
                  <a:pt x="1572649" y="6334722"/>
                </a:lnTo>
                <a:lnTo>
                  <a:pt x="1630474" y="6393302"/>
                </a:lnTo>
                <a:lnTo>
                  <a:pt x="1672471" y="6393302"/>
                </a:lnTo>
                <a:lnTo>
                  <a:pt x="1602845" y="6325413"/>
                </a:lnTo>
                <a:lnTo>
                  <a:pt x="1669855" y="6265409"/>
                </a:lnTo>
                <a:lnTo>
                  <a:pt x="1629144" y="6265409"/>
                </a:lnTo>
                <a:lnTo>
                  <a:pt x="1572649" y="6317420"/>
                </a:lnTo>
                <a:lnTo>
                  <a:pt x="1572649" y="6265409"/>
                </a:lnTo>
                <a:close/>
                <a:moveTo>
                  <a:pt x="1415032" y="6265409"/>
                </a:moveTo>
                <a:cubicBezTo>
                  <a:pt x="1404477" y="6265409"/>
                  <a:pt x="1395297" y="6273406"/>
                  <a:pt x="1395297" y="6285447"/>
                </a:cubicBezTo>
                <a:lnTo>
                  <a:pt x="1395297" y="6322676"/>
                </a:lnTo>
                <a:cubicBezTo>
                  <a:pt x="1395297" y="6333409"/>
                  <a:pt x="1403147" y="6341401"/>
                  <a:pt x="1415032" y="6341401"/>
                </a:cubicBezTo>
                <a:lnTo>
                  <a:pt x="1485989" y="6341401"/>
                </a:lnTo>
                <a:lnTo>
                  <a:pt x="1485989" y="6368008"/>
                </a:lnTo>
                <a:lnTo>
                  <a:pt x="1424212" y="6368008"/>
                </a:lnTo>
                <a:lnTo>
                  <a:pt x="1424212" y="6358703"/>
                </a:lnTo>
                <a:lnTo>
                  <a:pt x="1394011" y="6358703"/>
                </a:lnTo>
                <a:lnTo>
                  <a:pt x="1394011" y="6374687"/>
                </a:lnTo>
                <a:cubicBezTo>
                  <a:pt x="1394011" y="6385309"/>
                  <a:pt x="1400530" y="6393302"/>
                  <a:pt x="1413746" y="6393302"/>
                </a:cubicBezTo>
                <a:lnTo>
                  <a:pt x="1424212" y="6393302"/>
                </a:lnTo>
                <a:lnTo>
                  <a:pt x="1495169" y="6393302"/>
                </a:lnTo>
                <a:cubicBezTo>
                  <a:pt x="1508251" y="6393302"/>
                  <a:pt x="1514770" y="6385309"/>
                  <a:pt x="1514770" y="6373375"/>
                </a:cubicBezTo>
                <a:lnTo>
                  <a:pt x="1514770" y="6337352"/>
                </a:lnTo>
                <a:cubicBezTo>
                  <a:pt x="1514770" y="6323993"/>
                  <a:pt x="1505635" y="6315996"/>
                  <a:pt x="1495169" y="6315996"/>
                </a:cubicBezTo>
                <a:lnTo>
                  <a:pt x="1424212" y="6315996"/>
                </a:lnTo>
                <a:lnTo>
                  <a:pt x="1424212" y="6290703"/>
                </a:lnTo>
                <a:lnTo>
                  <a:pt x="1485989" y="6290703"/>
                </a:lnTo>
                <a:lnTo>
                  <a:pt x="1485989" y="6301436"/>
                </a:lnTo>
                <a:lnTo>
                  <a:pt x="1514770" y="6301436"/>
                </a:lnTo>
                <a:lnTo>
                  <a:pt x="1514770" y="6286760"/>
                </a:lnTo>
                <a:cubicBezTo>
                  <a:pt x="1514770" y="6273406"/>
                  <a:pt x="1506921" y="6265409"/>
                  <a:pt x="1496455" y="6265409"/>
                </a:cubicBezTo>
                <a:close/>
                <a:moveTo>
                  <a:pt x="1248195" y="6265409"/>
                </a:moveTo>
                <a:lnTo>
                  <a:pt x="1248195" y="6393302"/>
                </a:lnTo>
                <a:lnTo>
                  <a:pt x="1278445" y="6393302"/>
                </a:lnTo>
                <a:lnTo>
                  <a:pt x="1278445" y="6349394"/>
                </a:lnTo>
                <a:lnTo>
                  <a:pt x="1311258" y="6349394"/>
                </a:lnTo>
                <a:lnTo>
                  <a:pt x="1338887" y="6393302"/>
                </a:lnTo>
                <a:lnTo>
                  <a:pt x="1371615" y="6393302"/>
                </a:lnTo>
                <a:lnTo>
                  <a:pt x="1342834" y="6349394"/>
                </a:lnTo>
                <a:lnTo>
                  <a:pt x="1345454" y="6349394"/>
                </a:lnTo>
                <a:cubicBezTo>
                  <a:pt x="1362440" y="6349394"/>
                  <a:pt x="1370334" y="6339977"/>
                  <a:pt x="1370334" y="6329355"/>
                </a:cubicBezTo>
                <a:lnTo>
                  <a:pt x="1370334" y="6286760"/>
                </a:lnTo>
                <a:cubicBezTo>
                  <a:pt x="1370334" y="6273406"/>
                  <a:pt x="1362440" y="6265409"/>
                  <a:pt x="1349353" y="6265409"/>
                </a:cubicBezTo>
                <a:close/>
                <a:moveTo>
                  <a:pt x="1105039" y="6265409"/>
                </a:moveTo>
                <a:lnTo>
                  <a:pt x="1105039" y="6393302"/>
                </a:lnTo>
                <a:lnTo>
                  <a:pt x="1225847" y="6393302"/>
                </a:lnTo>
                <a:lnTo>
                  <a:pt x="1225847" y="6368008"/>
                </a:lnTo>
                <a:lnTo>
                  <a:pt x="1133954" y="6368008"/>
                </a:lnTo>
                <a:lnTo>
                  <a:pt x="1133954" y="6341401"/>
                </a:lnTo>
                <a:lnTo>
                  <a:pt x="1212716" y="6341401"/>
                </a:lnTo>
                <a:lnTo>
                  <a:pt x="1212716" y="6315996"/>
                </a:lnTo>
                <a:lnTo>
                  <a:pt x="1133954" y="6315996"/>
                </a:lnTo>
                <a:lnTo>
                  <a:pt x="1133954" y="6290703"/>
                </a:lnTo>
                <a:lnTo>
                  <a:pt x="1224512" y="6290703"/>
                </a:lnTo>
                <a:lnTo>
                  <a:pt x="1224512" y="6265409"/>
                </a:lnTo>
                <a:close/>
                <a:moveTo>
                  <a:pt x="996032" y="6265409"/>
                </a:moveTo>
                <a:lnTo>
                  <a:pt x="939577" y="6393302"/>
                </a:lnTo>
                <a:lnTo>
                  <a:pt x="972350" y="6393302"/>
                </a:lnTo>
                <a:lnTo>
                  <a:pt x="982905" y="6368008"/>
                </a:lnTo>
                <a:lnTo>
                  <a:pt x="1048629" y="6368008"/>
                </a:lnTo>
                <a:lnTo>
                  <a:pt x="1060381" y="6393302"/>
                </a:lnTo>
                <a:lnTo>
                  <a:pt x="1091957" y="6393302"/>
                </a:lnTo>
                <a:lnTo>
                  <a:pt x="1035413" y="6265409"/>
                </a:lnTo>
                <a:close/>
                <a:moveTo>
                  <a:pt x="777989" y="6265409"/>
                </a:moveTo>
                <a:lnTo>
                  <a:pt x="777989" y="6393302"/>
                </a:lnTo>
                <a:lnTo>
                  <a:pt x="805596" y="6393302"/>
                </a:lnTo>
                <a:lnTo>
                  <a:pt x="805596" y="6320050"/>
                </a:lnTo>
                <a:lnTo>
                  <a:pt x="838420" y="6393302"/>
                </a:lnTo>
                <a:lnTo>
                  <a:pt x="867379" y="6393302"/>
                </a:lnTo>
                <a:lnTo>
                  <a:pt x="900108" y="6318738"/>
                </a:lnTo>
                <a:lnTo>
                  <a:pt x="900108" y="6393302"/>
                </a:lnTo>
                <a:lnTo>
                  <a:pt x="927692" y="6393302"/>
                </a:lnTo>
                <a:lnTo>
                  <a:pt x="927692" y="6265409"/>
                </a:lnTo>
                <a:lnTo>
                  <a:pt x="894875" y="6265409"/>
                </a:lnTo>
                <a:lnTo>
                  <a:pt x="852833" y="6361328"/>
                </a:lnTo>
                <a:lnTo>
                  <a:pt x="810833" y="6265409"/>
                </a:lnTo>
                <a:close/>
                <a:moveTo>
                  <a:pt x="418098" y="6169025"/>
                </a:moveTo>
                <a:cubicBezTo>
                  <a:pt x="392390" y="6169025"/>
                  <a:pt x="371476" y="6190749"/>
                  <a:pt x="371476" y="6217452"/>
                </a:cubicBezTo>
                <a:lnTo>
                  <a:pt x="371476" y="6441264"/>
                </a:lnTo>
                <a:cubicBezTo>
                  <a:pt x="371476" y="6467965"/>
                  <a:pt x="392390" y="6489688"/>
                  <a:pt x="418098" y="6489688"/>
                </a:cubicBezTo>
                <a:lnTo>
                  <a:pt x="624342" y="6489688"/>
                </a:lnTo>
                <a:cubicBezTo>
                  <a:pt x="651219" y="6489688"/>
                  <a:pt x="672274" y="6468418"/>
                  <a:pt x="672274" y="6441264"/>
                </a:cubicBezTo>
                <a:lnTo>
                  <a:pt x="672274" y="6217452"/>
                </a:lnTo>
                <a:cubicBezTo>
                  <a:pt x="672274" y="6190297"/>
                  <a:pt x="651219" y="6169025"/>
                  <a:pt x="624342" y="6169025"/>
                </a:cubicBezTo>
                <a:close/>
                <a:moveTo>
                  <a:pt x="0" y="0"/>
                </a:moveTo>
                <a:lnTo>
                  <a:pt x="12193200" y="0"/>
                </a:lnTo>
                <a:lnTo>
                  <a:pt x="12193200" y="6861600"/>
                </a:lnTo>
                <a:lnTo>
                  <a:pt x="0" y="6861600"/>
                </a:lnTo>
                <a:close/>
              </a:path>
            </a:pathLst>
          </a:custGeom>
          <a:solidFill>
            <a:schemeClr val="accent1"/>
          </a:solidFill>
        </p:spPr>
        <p:txBody>
          <a:bodyPr wrap="square" tIns="72000" anchor="t" anchorCtr="0">
            <a:noAutofit/>
          </a:bodyPr>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2" name="Title 1"/>
          <p:cNvSpPr>
            <a:spLocks noGrp="1"/>
          </p:cNvSpPr>
          <p:nvPr>
            <p:ph type="ctrTitle" hasCustomPrompt="1"/>
          </p:nvPr>
        </p:nvSpPr>
        <p:spPr>
          <a:xfrm>
            <a:off x="371475" y="2732088"/>
            <a:ext cx="5602288" cy="1816100"/>
          </a:xfrm>
        </p:spPr>
        <p:txBody>
          <a:bodyPr anchor="t"/>
          <a:lstStyle>
            <a:lvl1pPr algn="l">
              <a:defRPr sz="4000">
                <a:solidFill>
                  <a:schemeClr val="bg1"/>
                </a:solidFill>
              </a:defRPr>
            </a:lvl1pPr>
          </a:lstStyle>
          <a:p>
            <a:r>
              <a:rPr lang="en-GB"/>
              <a:t>Click to add title</a:t>
            </a:r>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r>
              <a:rPr lang="en-GB"/>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r>
              <a:rPr lang="en-GB"/>
              <a:t>.</a:t>
            </a:r>
          </a:p>
        </p:txBody>
      </p:sp>
    </p:spTree>
    <p:extLst>
      <p:ext uri="{BB962C8B-B14F-4D97-AF65-F5344CB8AC3E}">
        <p14:creationId xmlns:p14="http://schemas.microsoft.com/office/powerpoint/2010/main" val="28198568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text and imag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203949" y="368300"/>
            <a:ext cx="5616575" cy="5157289"/>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tx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a:t>Click here and insert picture</a:t>
            </a:r>
          </a:p>
        </p:txBody>
      </p:sp>
      <p:sp>
        <p:nvSpPr>
          <p:cNvPr id="2" name="Title 1"/>
          <p:cNvSpPr>
            <a:spLocks noGrp="1"/>
          </p:cNvSpPr>
          <p:nvPr>
            <p:ph type="title" hasCustomPrompt="1"/>
          </p:nvPr>
        </p:nvSpPr>
        <p:spPr>
          <a:xfrm>
            <a:off x="371475" y="2735263"/>
            <a:ext cx="5616575" cy="2365375"/>
          </a:xfrm>
        </p:spPr>
        <p:txBody>
          <a:bodyPr/>
          <a:lstStyle>
            <a:lvl1pPr>
              <a:defRPr sz="4000" b="0">
                <a:solidFill>
                  <a:schemeClr val="tx1"/>
                </a:solidFill>
                <a:latin typeface="+mj-lt"/>
              </a:defRPr>
            </a:lvl1pPr>
          </a:lstStyle>
          <a:p>
            <a:r>
              <a:rPr lang="en-GB" noProof="0"/>
              <a:t>Click to add title</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r>
              <a:rPr lang="en-GB"/>
              <a:t>Insert presentation title via Header &amp; Footer</a:t>
            </a:r>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endParaRPr lang="en-GB"/>
          </a:p>
          <a:p>
            <a:r>
              <a:rPr lang="en-GB"/>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pic>
        <p:nvPicPr>
          <p:cNvPr id="5" name="Picture 29">
            <a:extLst>
              <a:ext uri="{FF2B5EF4-FFF2-40B4-BE49-F238E27FC236}">
                <a16:creationId xmlns:a16="http://schemas.microsoft.com/office/drawing/2014/main" id="{793661C6-6C19-5B97-B9D3-53D479A3A69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7843841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grey A">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450D451-166A-DB50-93BB-F1B2DF01ACA0}"/>
              </a:ext>
            </a:extLst>
          </p:cNvPr>
          <p:cNvSpPr>
            <a:spLocks noGrp="1"/>
          </p:cNvSpPr>
          <p:nvPr>
            <p:ph sz="half" idx="17" hasCustomPrompt="1"/>
          </p:nvPr>
        </p:nvSpPr>
        <p:spPr>
          <a:xfrm>
            <a:off x="6203951" y="1944000"/>
            <a:ext cx="5616574"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3" name="Content Placeholder 2"/>
          <p:cNvSpPr>
            <a:spLocks noGrp="1"/>
          </p:cNvSpPr>
          <p:nvPr>
            <p:ph sz="half" idx="1" hasCustomPrompt="1"/>
          </p:nvPr>
        </p:nvSpPr>
        <p:spPr>
          <a:xfrm>
            <a:off x="371476" y="1944000"/>
            <a:ext cx="5616574"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9" name="Picture 29">
            <a:extLst>
              <a:ext uri="{FF2B5EF4-FFF2-40B4-BE49-F238E27FC236}">
                <a16:creationId xmlns:a16="http://schemas.microsoft.com/office/drawing/2014/main" id="{06D7CFA5-B4CD-BC99-2280-42DB773193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878505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colour A">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450D451-166A-DB50-93BB-F1B2DF01ACA0}"/>
              </a:ext>
            </a:extLst>
          </p:cNvPr>
          <p:cNvSpPr>
            <a:spLocks noGrp="1"/>
          </p:cNvSpPr>
          <p:nvPr>
            <p:ph sz="half" idx="17" hasCustomPrompt="1"/>
          </p:nvPr>
        </p:nvSpPr>
        <p:spPr>
          <a:xfrm>
            <a:off x="6203951" y="1944000"/>
            <a:ext cx="5616574" cy="3693600"/>
          </a:xfrm>
          <a:prstGeom prst="roundRect">
            <a:avLst>
              <a:gd name="adj" fmla="val 1980"/>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3" name="Content Placeholder 2"/>
          <p:cNvSpPr>
            <a:spLocks noGrp="1"/>
          </p:cNvSpPr>
          <p:nvPr>
            <p:ph sz="half" idx="1" hasCustomPrompt="1"/>
          </p:nvPr>
        </p:nvSpPr>
        <p:spPr>
          <a:xfrm>
            <a:off x="371476" y="1944000"/>
            <a:ext cx="5616574"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9" name="Picture 29">
            <a:extLst>
              <a:ext uri="{FF2B5EF4-FFF2-40B4-BE49-F238E27FC236}">
                <a16:creationId xmlns:a16="http://schemas.microsoft.com/office/drawing/2014/main" id="{06D7CFA5-B4CD-BC99-2280-42DB773193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723736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pictur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371475" y="1943100"/>
            <a:ext cx="6588125" cy="369411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48638" y="1943100"/>
            <a:ext cx="3671887" cy="369411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a:t>
            </a:r>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pic>
        <p:nvPicPr>
          <p:cNvPr id="9" name="Picture 29">
            <a:extLst>
              <a:ext uri="{FF2B5EF4-FFF2-40B4-BE49-F238E27FC236}">
                <a16:creationId xmlns:a16="http://schemas.microsoft.com/office/drawing/2014/main" id="{C6313E68-E994-9F74-4408-671D5FBEC5B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36624043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grey B">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2D5D55B9-CBF6-5220-4010-C5194D552D4E}"/>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9" name="Content Placeholder 2">
            <a:extLst>
              <a:ext uri="{FF2B5EF4-FFF2-40B4-BE49-F238E27FC236}">
                <a16:creationId xmlns:a16="http://schemas.microsoft.com/office/drawing/2014/main" id="{17B7027F-6F96-E788-ACC5-2FE04C67D55A}"/>
              </a:ext>
            </a:extLst>
          </p:cNvPr>
          <p:cNvSpPr>
            <a:spLocks noGrp="1"/>
          </p:cNvSpPr>
          <p:nvPr>
            <p:ph sz="half" idx="18" hasCustomPrompt="1"/>
          </p:nvPr>
        </p:nvSpPr>
        <p:spPr>
          <a:xfrm>
            <a:off x="4259263" y="1944000"/>
            <a:ext cx="7561261"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pic>
        <p:nvPicPr>
          <p:cNvPr id="4" name="Picture 29">
            <a:extLst>
              <a:ext uri="{FF2B5EF4-FFF2-40B4-BE49-F238E27FC236}">
                <a16:creationId xmlns:a16="http://schemas.microsoft.com/office/drawing/2014/main" id="{01529D73-45CA-20DE-B314-D61FB92DE5C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8672601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colour B">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2D5D55B9-CBF6-5220-4010-C5194D552D4E}"/>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9" name="Content Placeholder 2">
            <a:extLst>
              <a:ext uri="{FF2B5EF4-FFF2-40B4-BE49-F238E27FC236}">
                <a16:creationId xmlns:a16="http://schemas.microsoft.com/office/drawing/2014/main" id="{17B7027F-6F96-E788-ACC5-2FE04C67D55A}"/>
              </a:ext>
            </a:extLst>
          </p:cNvPr>
          <p:cNvSpPr>
            <a:spLocks noGrp="1"/>
          </p:cNvSpPr>
          <p:nvPr>
            <p:ph sz="half" idx="18" hasCustomPrompt="1"/>
          </p:nvPr>
        </p:nvSpPr>
        <p:spPr>
          <a:xfrm>
            <a:off x="4259263" y="1944000"/>
            <a:ext cx="7561261" cy="3693600"/>
          </a:xfrm>
          <a:prstGeom prst="roundRect">
            <a:avLst>
              <a:gd name="adj" fmla="val 1980"/>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pic>
        <p:nvPicPr>
          <p:cNvPr id="4" name="Picture 29">
            <a:extLst>
              <a:ext uri="{FF2B5EF4-FFF2-40B4-BE49-F238E27FC236}">
                <a16:creationId xmlns:a16="http://schemas.microsoft.com/office/drawing/2014/main" id="{01529D73-45CA-20DE-B314-D61FB92DE5C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3575449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2">
            <a:extLst>
              <a:ext uri="{FF2B5EF4-FFF2-40B4-BE49-F238E27FC236}">
                <a16:creationId xmlns:a16="http://schemas.microsoft.com/office/drawing/2014/main" id="{2CF42059-250B-C626-EC80-B1495B4A7246}"/>
              </a:ext>
            </a:extLst>
          </p:cNvPr>
          <p:cNvSpPr>
            <a:spLocks noGrp="1"/>
          </p:cNvSpPr>
          <p:nvPr>
            <p:ph sz="half" idx="18" hasCustomPrompt="1"/>
          </p:nvPr>
        </p:nvSpPr>
        <p:spPr>
          <a:xfrm>
            <a:off x="4259263"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Content Placeholder 2">
            <a:extLst>
              <a:ext uri="{FF2B5EF4-FFF2-40B4-BE49-F238E27FC236}">
                <a16:creationId xmlns:a16="http://schemas.microsoft.com/office/drawing/2014/main" id="{F3B0D891-C34C-C701-8D3E-46A3F8DAC619}"/>
              </a:ext>
            </a:extLst>
          </p:cNvPr>
          <p:cNvSpPr>
            <a:spLocks noGrp="1"/>
          </p:cNvSpPr>
          <p:nvPr>
            <p:ph sz="half" idx="19" hasCustomPrompt="1"/>
          </p:nvPr>
        </p:nvSpPr>
        <p:spPr>
          <a:xfrm>
            <a:off x="8148638"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5125385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colo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3671887" cy="3693600"/>
          </a:xfrm>
          <a:prstGeom prst="roundRect">
            <a:avLst>
              <a:gd name="adj" fmla="val 1980"/>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Content Placeholder 2">
            <a:extLst>
              <a:ext uri="{FF2B5EF4-FFF2-40B4-BE49-F238E27FC236}">
                <a16:creationId xmlns:a16="http://schemas.microsoft.com/office/drawing/2014/main" id="{2CF42059-250B-C626-EC80-B1495B4A7246}"/>
              </a:ext>
            </a:extLst>
          </p:cNvPr>
          <p:cNvSpPr>
            <a:spLocks noGrp="1"/>
          </p:cNvSpPr>
          <p:nvPr>
            <p:ph sz="half" idx="18" hasCustomPrompt="1"/>
          </p:nvPr>
        </p:nvSpPr>
        <p:spPr>
          <a:xfrm>
            <a:off x="4259263" y="1944000"/>
            <a:ext cx="3671887" cy="3693600"/>
          </a:xfrm>
          <a:prstGeom prst="roundRect">
            <a:avLst>
              <a:gd name="adj" fmla="val 1980"/>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Content Placeholder 2">
            <a:extLst>
              <a:ext uri="{FF2B5EF4-FFF2-40B4-BE49-F238E27FC236}">
                <a16:creationId xmlns:a16="http://schemas.microsoft.com/office/drawing/2014/main" id="{F3B0D891-C34C-C701-8D3E-46A3F8DAC619}"/>
              </a:ext>
            </a:extLst>
          </p:cNvPr>
          <p:cNvSpPr>
            <a:spLocks noGrp="1"/>
          </p:cNvSpPr>
          <p:nvPr>
            <p:ph sz="half" idx="19" hasCustomPrompt="1"/>
          </p:nvPr>
        </p:nvSpPr>
        <p:spPr>
          <a:xfrm>
            <a:off x="8148638" y="1944000"/>
            <a:ext cx="3671887" cy="3693600"/>
          </a:xfrm>
          <a:prstGeom prst="roundRect">
            <a:avLst>
              <a:gd name="adj" fmla="val 1980"/>
            </a:avLst>
          </a:prstGeom>
          <a:solidFill>
            <a:schemeClr val="accent1"/>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4939232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14" name="Content Placeholder 2">
            <a:extLst>
              <a:ext uri="{FF2B5EF4-FFF2-40B4-BE49-F238E27FC236}">
                <a16:creationId xmlns:a16="http://schemas.microsoft.com/office/drawing/2014/main" id="{8C34D318-1F20-E625-1A1B-CE897828848D}"/>
              </a:ext>
            </a:extLst>
          </p:cNvPr>
          <p:cNvSpPr>
            <a:spLocks noGrp="1"/>
          </p:cNvSpPr>
          <p:nvPr>
            <p:ph sz="half" idx="18" hasCustomPrompt="1"/>
          </p:nvPr>
        </p:nvSpPr>
        <p:spPr>
          <a:xfrm>
            <a:off x="3287713"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5" name="Content Placeholder 2">
            <a:extLst>
              <a:ext uri="{FF2B5EF4-FFF2-40B4-BE49-F238E27FC236}">
                <a16:creationId xmlns:a16="http://schemas.microsoft.com/office/drawing/2014/main" id="{AEF1A033-1317-8E8A-1C25-6343B8170D08}"/>
              </a:ext>
            </a:extLst>
          </p:cNvPr>
          <p:cNvSpPr>
            <a:spLocks noGrp="1"/>
          </p:cNvSpPr>
          <p:nvPr>
            <p:ph sz="half" idx="19" hasCustomPrompt="1"/>
          </p:nvPr>
        </p:nvSpPr>
        <p:spPr>
          <a:xfrm>
            <a:off x="9120188"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6" name="Content Placeholder 2">
            <a:extLst>
              <a:ext uri="{FF2B5EF4-FFF2-40B4-BE49-F238E27FC236}">
                <a16:creationId xmlns:a16="http://schemas.microsoft.com/office/drawing/2014/main" id="{5EE6D3DA-AD4C-D672-0575-5FB978F024C1}"/>
              </a:ext>
            </a:extLst>
          </p:cNvPr>
          <p:cNvSpPr>
            <a:spLocks noGrp="1"/>
          </p:cNvSpPr>
          <p:nvPr>
            <p:ph sz="half" idx="20" hasCustomPrompt="1"/>
          </p:nvPr>
        </p:nvSpPr>
        <p:spPr>
          <a:xfrm>
            <a:off x="6203950"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272077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content colo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Content Placeholder 2">
            <a:extLst>
              <a:ext uri="{FF2B5EF4-FFF2-40B4-BE49-F238E27FC236}">
                <a16:creationId xmlns:a16="http://schemas.microsoft.com/office/drawing/2014/main" id="{F2A8BE1E-01A9-261E-17E4-5916A200C9C8}"/>
              </a:ext>
            </a:extLst>
          </p:cNvPr>
          <p:cNvSpPr>
            <a:spLocks noGrp="1"/>
          </p:cNvSpPr>
          <p:nvPr>
            <p:ph sz="half" idx="17" hasCustomPrompt="1"/>
          </p:nvPr>
        </p:nvSpPr>
        <p:spPr>
          <a:xfrm>
            <a:off x="371476" y="1944000"/>
            <a:ext cx="2700337" cy="3693600"/>
          </a:xfrm>
          <a:prstGeom prst="roundRect">
            <a:avLst>
              <a:gd name="adj" fmla="val 2417"/>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a:extLst>
              <a:ext uri="{FF2B5EF4-FFF2-40B4-BE49-F238E27FC236}">
                <a16:creationId xmlns:a16="http://schemas.microsoft.com/office/drawing/2014/main" id="{35119CAF-1949-A2B9-1EFA-CE36BE0D2F58}"/>
              </a:ext>
            </a:extLst>
          </p:cNvPr>
          <p:cNvSpPr>
            <a:spLocks noGrp="1"/>
          </p:cNvSpPr>
          <p:nvPr>
            <p:ph sz="half" idx="21" hasCustomPrompt="1"/>
          </p:nvPr>
        </p:nvSpPr>
        <p:spPr>
          <a:xfrm>
            <a:off x="3287713" y="1944000"/>
            <a:ext cx="2700337" cy="3693600"/>
          </a:xfrm>
          <a:prstGeom prst="roundRect">
            <a:avLst>
              <a:gd name="adj" fmla="val 2417"/>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4" name="Content Placeholder 2">
            <a:extLst>
              <a:ext uri="{FF2B5EF4-FFF2-40B4-BE49-F238E27FC236}">
                <a16:creationId xmlns:a16="http://schemas.microsoft.com/office/drawing/2014/main" id="{3FFE4071-60A8-12CD-2B46-9A6180ECC4F0}"/>
              </a:ext>
            </a:extLst>
          </p:cNvPr>
          <p:cNvSpPr>
            <a:spLocks noGrp="1"/>
          </p:cNvSpPr>
          <p:nvPr>
            <p:ph sz="half" idx="22" hasCustomPrompt="1"/>
          </p:nvPr>
        </p:nvSpPr>
        <p:spPr>
          <a:xfrm>
            <a:off x="9120188" y="1944000"/>
            <a:ext cx="2700337" cy="3693600"/>
          </a:xfrm>
          <a:prstGeom prst="roundRect">
            <a:avLst>
              <a:gd name="adj" fmla="val 2417"/>
            </a:avLst>
          </a:prstGeom>
          <a:solidFill>
            <a:schemeClr val="accent1"/>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5" name="Content Placeholder 2">
            <a:extLst>
              <a:ext uri="{FF2B5EF4-FFF2-40B4-BE49-F238E27FC236}">
                <a16:creationId xmlns:a16="http://schemas.microsoft.com/office/drawing/2014/main" id="{C05CCAF1-817C-8C7D-CF98-2AD066339D06}"/>
              </a:ext>
            </a:extLst>
          </p:cNvPr>
          <p:cNvSpPr>
            <a:spLocks noGrp="1"/>
          </p:cNvSpPr>
          <p:nvPr>
            <p:ph sz="half" idx="23" hasCustomPrompt="1"/>
          </p:nvPr>
        </p:nvSpPr>
        <p:spPr>
          <a:xfrm>
            <a:off x="6203950" y="1944000"/>
            <a:ext cx="2700337" cy="3693600"/>
          </a:xfrm>
          <a:prstGeom prst="roundRect">
            <a:avLst>
              <a:gd name="adj" fmla="val 2417"/>
            </a:avLst>
          </a:prstGeom>
          <a:solidFill>
            <a:schemeClr val="accent4"/>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345358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iv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7" name="Content Placeholder 2">
            <a:extLst>
              <a:ext uri="{FF2B5EF4-FFF2-40B4-BE49-F238E27FC236}">
                <a16:creationId xmlns:a16="http://schemas.microsoft.com/office/drawing/2014/main" id="{8BD9E86A-566D-96BC-C43F-C52100C10C26}"/>
              </a:ext>
            </a:extLst>
          </p:cNvPr>
          <p:cNvSpPr>
            <a:spLocks noGrp="1"/>
          </p:cNvSpPr>
          <p:nvPr>
            <p:ph sz="half" idx="17" hasCustomPrompt="1"/>
          </p:nvPr>
        </p:nvSpPr>
        <p:spPr>
          <a:xfrm>
            <a:off x="371476"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12" name="Content Placeholder 2">
            <a:extLst>
              <a:ext uri="{FF2B5EF4-FFF2-40B4-BE49-F238E27FC236}">
                <a16:creationId xmlns:a16="http://schemas.microsoft.com/office/drawing/2014/main" id="{058EA7ED-9CB2-0EAA-DC4A-681C6294E267}"/>
              </a:ext>
            </a:extLst>
          </p:cNvPr>
          <p:cNvSpPr>
            <a:spLocks noGrp="1"/>
          </p:cNvSpPr>
          <p:nvPr>
            <p:ph sz="half" idx="18" hasCustomPrompt="1"/>
          </p:nvPr>
        </p:nvSpPr>
        <p:spPr>
          <a:xfrm>
            <a:off x="2702738"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a:extLst>
              <a:ext uri="{FF2B5EF4-FFF2-40B4-BE49-F238E27FC236}">
                <a16:creationId xmlns:a16="http://schemas.microsoft.com/office/drawing/2014/main" id="{A63176DC-6498-BAD7-D8DC-87B4DD4FF5D2}"/>
              </a:ext>
            </a:extLst>
          </p:cNvPr>
          <p:cNvSpPr>
            <a:spLocks noGrp="1"/>
          </p:cNvSpPr>
          <p:nvPr>
            <p:ph sz="half" idx="19" hasCustomPrompt="1"/>
          </p:nvPr>
        </p:nvSpPr>
        <p:spPr>
          <a:xfrm>
            <a:off x="5034000"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5" name="Content Placeholder 2">
            <a:extLst>
              <a:ext uri="{FF2B5EF4-FFF2-40B4-BE49-F238E27FC236}">
                <a16:creationId xmlns:a16="http://schemas.microsoft.com/office/drawing/2014/main" id="{784EE7DD-7E78-8C24-4172-F9299178B59C}"/>
              </a:ext>
            </a:extLst>
          </p:cNvPr>
          <p:cNvSpPr>
            <a:spLocks noGrp="1"/>
          </p:cNvSpPr>
          <p:nvPr>
            <p:ph sz="half" idx="20" hasCustomPrompt="1"/>
          </p:nvPr>
        </p:nvSpPr>
        <p:spPr>
          <a:xfrm>
            <a:off x="7365262"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6" name="Content Placeholder 2">
            <a:extLst>
              <a:ext uri="{FF2B5EF4-FFF2-40B4-BE49-F238E27FC236}">
                <a16:creationId xmlns:a16="http://schemas.microsoft.com/office/drawing/2014/main" id="{54EB7B39-185E-EBB0-274D-25CD6BFE9924}"/>
              </a:ext>
            </a:extLst>
          </p:cNvPr>
          <p:cNvSpPr>
            <a:spLocks noGrp="1"/>
          </p:cNvSpPr>
          <p:nvPr>
            <p:ph sz="half" idx="21" hasCustomPrompt="1"/>
          </p:nvPr>
        </p:nvSpPr>
        <p:spPr>
          <a:xfrm>
            <a:off x="9696525"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4375356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ive content colo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pic>
        <p:nvPicPr>
          <p:cNvPr id="8" name="Picture 29">
            <a:extLst>
              <a:ext uri="{FF2B5EF4-FFF2-40B4-BE49-F238E27FC236}">
                <a16:creationId xmlns:a16="http://schemas.microsoft.com/office/drawing/2014/main" id="{5A272954-9AB0-4B93-F8F8-DE508D3C4EC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
        <p:nvSpPr>
          <p:cNvPr id="6" name="Content Placeholder 2">
            <a:extLst>
              <a:ext uri="{FF2B5EF4-FFF2-40B4-BE49-F238E27FC236}">
                <a16:creationId xmlns:a16="http://schemas.microsoft.com/office/drawing/2014/main" id="{C9905CD1-2289-BC8E-7167-9431CB287AD6}"/>
              </a:ext>
            </a:extLst>
          </p:cNvPr>
          <p:cNvSpPr>
            <a:spLocks noGrp="1"/>
          </p:cNvSpPr>
          <p:nvPr>
            <p:ph sz="half" idx="17" hasCustomPrompt="1"/>
          </p:nvPr>
        </p:nvSpPr>
        <p:spPr>
          <a:xfrm>
            <a:off x="371476" y="1944000"/>
            <a:ext cx="2124000" cy="3693600"/>
          </a:xfrm>
          <a:prstGeom prst="roundRect">
            <a:avLst>
              <a:gd name="adj" fmla="val 3325"/>
            </a:avLst>
          </a:prstGeom>
          <a:solidFill>
            <a:schemeClr val="bg2"/>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a:extLst>
              <a:ext uri="{FF2B5EF4-FFF2-40B4-BE49-F238E27FC236}">
                <a16:creationId xmlns:a16="http://schemas.microsoft.com/office/drawing/2014/main" id="{A07B574F-C504-CC34-1289-A25F2C77388A}"/>
              </a:ext>
            </a:extLst>
          </p:cNvPr>
          <p:cNvSpPr>
            <a:spLocks noGrp="1"/>
          </p:cNvSpPr>
          <p:nvPr>
            <p:ph sz="half" idx="22" hasCustomPrompt="1"/>
          </p:nvPr>
        </p:nvSpPr>
        <p:spPr>
          <a:xfrm>
            <a:off x="2702738" y="1944000"/>
            <a:ext cx="2124000" cy="3693600"/>
          </a:xfrm>
          <a:prstGeom prst="roundRect">
            <a:avLst>
              <a:gd name="adj" fmla="val 3325"/>
            </a:avLst>
          </a:prstGeom>
          <a:solidFill>
            <a:schemeClr val="accent5"/>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a:extLst>
              <a:ext uri="{FF2B5EF4-FFF2-40B4-BE49-F238E27FC236}">
                <a16:creationId xmlns:a16="http://schemas.microsoft.com/office/drawing/2014/main" id="{1500C2E4-F956-B44E-B0DA-9523C63A745D}"/>
              </a:ext>
            </a:extLst>
          </p:cNvPr>
          <p:cNvSpPr>
            <a:spLocks noGrp="1"/>
          </p:cNvSpPr>
          <p:nvPr>
            <p:ph sz="half" idx="23" hasCustomPrompt="1"/>
          </p:nvPr>
        </p:nvSpPr>
        <p:spPr>
          <a:xfrm>
            <a:off x="5034000" y="1944000"/>
            <a:ext cx="2124000" cy="3693600"/>
          </a:xfrm>
          <a:prstGeom prst="roundRect">
            <a:avLst>
              <a:gd name="adj" fmla="val 3325"/>
            </a:avLst>
          </a:prstGeom>
          <a:solidFill>
            <a:schemeClr val="accent4"/>
          </a:solidFill>
        </p:spPr>
        <p:txBody>
          <a:bodyPr lIns="237600" tIns="237600" rIns="237600" bIns="237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4" name="Content Placeholder 2">
            <a:extLst>
              <a:ext uri="{FF2B5EF4-FFF2-40B4-BE49-F238E27FC236}">
                <a16:creationId xmlns:a16="http://schemas.microsoft.com/office/drawing/2014/main" id="{F5C379F4-79DE-99E0-3E9C-B7809BC02005}"/>
              </a:ext>
            </a:extLst>
          </p:cNvPr>
          <p:cNvSpPr>
            <a:spLocks noGrp="1"/>
          </p:cNvSpPr>
          <p:nvPr>
            <p:ph sz="half" idx="24" hasCustomPrompt="1"/>
          </p:nvPr>
        </p:nvSpPr>
        <p:spPr>
          <a:xfrm>
            <a:off x="7365262" y="1944000"/>
            <a:ext cx="2124000" cy="3693600"/>
          </a:xfrm>
          <a:prstGeom prst="roundRect">
            <a:avLst>
              <a:gd name="adj" fmla="val 3325"/>
            </a:avLst>
          </a:prstGeom>
          <a:solidFill>
            <a:schemeClr val="accent1"/>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6" name="Content Placeholder 2">
            <a:extLst>
              <a:ext uri="{FF2B5EF4-FFF2-40B4-BE49-F238E27FC236}">
                <a16:creationId xmlns:a16="http://schemas.microsoft.com/office/drawing/2014/main" id="{B0050AC2-985D-85FA-C022-CDD1E61B1B89}"/>
              </a:ext>
            </a:extLst>
          </p:cNvPr>
          <p:cNvSpPr>
            <a:spLocks noGrp="1"/>
          </p:cNvSpPr>
          <p:nvPr>
            <p:ph sz="half" idx="25" hasCustomPrompt="1"/>
          </p:nvPr>
        </p:nvSpPr>
        <p:spPr>
          <a:xfrm>
            <a:off x="9696525" y="1944000"/>
            <a:ext cx="2124000" cy="3693600"/>
          </a:xfrm>
          <a:prstGeom prst="roundRect">
            <a:avLst>
              <a:gd name="adj" fmla="val 3325"/>
            </a:avLst>
          </a:prstGeom>
          <a:solidFill>
            <a:schemeClr val="accent3"/>
          </a:solidFill>
        </p:spPr>
        <p:txBody>
          <a:bodyPr lIns="237600" tIns="237600" rIns="237600" bIns="237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129042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content B">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71474" y="1501255"/>
            <a:ext cx="5616575"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03949" y="1501255"/>
            <a:ext cx="5616575"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371474" y="3678175"/>
            <a:ext cx="5616575"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a:p>
        </p:txBody>
      </p:sp>
      <p:sp>
        <p:nvSpPr>
          <p:cNvPr id="9" name="Content Placeholder 3">
            <a:extLst>
              <a:ext uri="{FF2B5EF4-FFF2-40B4-BE49-F238E27FC236}">
                <a16:creationId xmlns:a16="http://schemas.microsoft.com/office/drawing/2014/main" id="{4F9FA52E-E6B6-497B-8CDF-4291B6C70B9B}"/>
              </a:ext>
            </a:extLst>
          </p:cNvPr>
          <p:cNvSpPr>
            <a:spLocks noGrp="1"/>
          </p:cNvSpPr>
          <p:nvPr>
            <p:ph sz="half" idx="17" hasCustomPrompt="1"/>
          </p:nvPr>
        </p:nvSpPr>
        <p:spPr>
          <a:xfrm>
            <a:off x="6203949" y="3678175"/>
            <a:ext cx="5616575" cy="1940400"/>
          </a:xfrm>
          <a:solidFill>
            <a:schemeClr val="bg1"/>
          </a:solidFill>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0535A655-0007-42B8-9AAE-D572D30C69E7}"/>
              </a:ext>
            </a:extLst>
          </p:cNvPr>
          <p:cNvSpPr>
            <a:spLocks noGrp="1"/>
          </p:cNvSpPr>
          <p:nvPr>
            <p:ph type="title" hasCustomPrompt="1"/>
          </p:nvPr>
        </p:nvSpPr>
        <p:spPr>
          <a:xfrm>
            <a:off x="371475" y="368300"/>
            <a:ext cx="11449050" cy="930275"/>
          </a:xfrm>
        </p:spPr>
        <p:txBody>
          <a:bodyPr/>
          <a:lstStyle>
            <a:lvl1pPr>
              <a:defRPr/>
            </a:lvl1pPr>
          </a:lstStyle>
          <a:p>
            <a:r>
              <a:rPr lang="en-GB"/>
              <a:t>Click to add title</a:t>
            </a:r>
          </a:p>
        </p:txBody>
      </p:sp>
      <p:pic>
        <p:nvPicPr>
          <p:cNvPr id="12" name="Picture 29">
            <a:extLst>
              <a:ext uri="{FF2B5EF4-FFF2-40B4-BE49-F238E27FC236}">
                <a16:creationId xmlns:a16="http://schemas.microsoft.com/office/drawing/2014/main" id="{A77C2106-8C21-6148-3B18-40EF51733D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6371123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On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371475" y="1944000"/>
            <a:ext cx="11449049" cy="3693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hidden="1">
            <a:extLst>
              <a:ext uri="{FF2B5EF4-FFF2-40B4-BE49-F238E27FC236}">
                <a16:creationId xmlns:a16="http://schemas.microsoft.com/office/drawing/2014/main" id="{C0878BA1-CFB4-4349-B120-1867D280A4EA}"/>
              </a:ext>
            </a:extLst>
          </p:cNvPr>
          <p:cNvSpPr>
            <a:spLocks noGrp="1"/>
          </p:cNvSpPr>
          <p:nvPr>
            <p:ph type="dt" sz="half" idx="10"/>
          </p:nvPr>
        </p:nvSpPr>
        <p:spPr/>
        <p:txBody>
          <a:bodyPr/>
          <a:lstStyle/>
          <a:p>
            <a:endParaRPr lang="en-GB"/>
          </a:p>
        </p:txBody>
      </p:sp>
      <p:pic>
        <p:nvPicPr>
          <p:cNvPr id="9" name="Picture 29">
            <a:extLst>
              <a:ext uri="{FF2B5EF4-FFF2-40B4-BE49-F238E27FC236}">
                <a16:creationId xmlns:a16="http://schemas.microsoft.com/office/drawing/2014/main" id="{A3CE622E-E06A-841D-06AC-9109FF66897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66800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50"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371476" y="1943099"/>
            <a:ext cx="5616574"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03951" y="1943099"/>
            <a:ext cx="5616574"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pic>
        <p:nvPicPr>
          <p:cNvPr id="9" name="Picture 29">
            <a:extLst>
              <a:ext uri="{FF2B5EF4-FFF2-40B4-BE49-F238E27FC236}">
                <a16:creationId xmlns:a16="http://schemas.microsoft.com/office/drawing/2014/main" id="{FBB58968-0709-73F6-9B45-7BBC0A510C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29268843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68300"/>
            <a:ext cx="11449049" cy="930275"/>
          </a:xfrm>
        </p:spPr>
        <p:txBody>
          <a:bodyPr/>
          <a:lstStyle>
            <a:lvl1pPr>
              <a:defRPr/>
            </a:lvl1pPr>
          </a:lstStyle>
          <a:p>
            <a:r>
              <a:rPr lang="en-GB"/>
              <a:t>Click to add title</a:t>
            </a:r>
          </a:p>
        </p:txBody>
      </p:sp>
      <p:sp>
        <p:nvSpPr>
          <p:cNvPr id="6" name="Date Placeholder 5" hidden="1">
            <a:extLst>
              <a:ext uri="{FF2B5EF4-FFF2-40B4-BE49-F238E27FC236}">
                <a16:creationId xmlns:a16="http://schemas.microsoft.com/office/drawing/2014/main" id="{C3750702-865E-424E-BDAE-F6B87694C5F2}"/>
              </a:ext>
            </a:extLst>
          </p:cNvPr>
          <p:cNvSpPr>
            <a:spLocks noGrp="1"/>
          </p:cNvSpPr>
          <p:nvPr>
            <p:ph type="dt" sz="half" idx="10"/>
          </p:nvPr>
        </p:nvSpPr>
        <p:spPr/>
        <p:txBody>
          <a:bodyPr/>
          <a:lstStyle/>
          <a:p>
            <a:endParaRPr lang="en-GB"/>
          </a:p>
        </p:txBody>
      </p:sp>
      <p:pic>
        <p:nvPicPr>
          <p:cNvPr id="3" name="Picture 29">
            <a:extLst>
              <a:ext uri="{FF2B5EF4-FFF2-40B4-BE49-F238E27FC236}">
                <a16:creationId xmlns:a16="http://schemas.microsoft.com/office/drawing/2014/main" id="{9D0A0F73-0A09-3F0F-CDE1-E6689518F54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327355061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CF0E3E31-9EAD-4ECD-A589-4F158B739B5B}"/>
              </a:ext>
            </a:extLst>
          </p:cNvPr>
          <p:cNvSpPr>
            <a:spLocks noGrp="1"/>
          </p:cNvSpPr>
          <p:nvPr>
            <p:ph type="dt" sz="half" idx="10"/>
          </p:nvPr>
        </p:nvSpPr>
        <p:spPr/>
        <p:txBody>
          <a:bodyPr/>
          <a:lstStyle/>
          <a:p>
            <a:endParaRPr lang="en-GB"/>
          </a:p>
        </p:txBody>
      </p:sp>
      <p:pic>
        <p:nvPicPr>
          <p:cNvPr id="4" name="Picture 29">
            <a:extLst>
              <a:ext uri="{FF2B5EF4-FFF2-40B4-BE49-F238E27FC236}">
                <a16:creationId xmlns:a16="http://schemas.microsoft.com/office/drawing/2014/main" id="{DE5828A2-B47C-267D-D7C3-E051EF0B36F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9025"/>
            <a:ext cx="1299398" cy="320399"/>
          </a:xfrm>
          <a:prstGeom prst="rect">
            <a:avLst/>
          </a:prstGeom>
        </p:spPr>
      </p:pic>
    </p:spTree>
    <p:extLst>
      <p:ext uri="{BB962C8B-B14F-4D97-AF65-F5344CB8AC3E}">
        <p14:creationId xmlns:p14="http://schemas.microsoft.com/office/powerpoint/2010/main" val="14445941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7187" y="4308475"/>
            <a:ext cx="11463338" cy="1318735"/>
          </a:xfrm>
        </p:spPr>
        <p:txBody>
          <a:bodyPr/>
          <a:lstStyle>
            <a:lvl1pPr>
              <a:defRPr sz="4000" b="0">
                <a:solidFill>
                  <a:schemeClr val="bg1"/>
                </a:solidFill>
                <a:latin typeface="+mj-lt"/>
              </a:defRPr>
            </a:lvl1pPr>
          </a:lstStyle>
          <a:p>
            <a:r>
              <a:rPr lang="en-GB" noProof="0"/>
              <a:t>Click to add title</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a:p>
        </p:txBody>
      </p:sp>
      <p:sp>
        <p:nvSpPr>
          <p:cNvPr id="5" name="Footer Placeholder 7">
            <a:extLst>
              <a:ext uri="{FF2B5EF4-FFF2-40B4-BE49-F238E27FC236}">
                <a16:creationId xmlns:a16="http://schemas.microsoft.com/office/drawing/2014/main" id="{480CB8BD-D0AA-1528-E9B4-58D52D8C3AF4}"/>
              </a:ext>
            </a:extLst>
          </p:cNvPr>
          <p:cNvSpPr txBox="1">
            <a:spLocks/>
          </p:cNvSpPr>
          <p:nvPr userDrawn="1"/>
        </p:nvSpPr>
        <p:spPr>
          <a:xfrm>
            <a:off x="7563606" y="6404481"/>
            <a:ext cx="3285369" cy="185427"/>
          </a:xfrm>
          <a:prstGeom prst="rect">
            <a:avLst/>
          </a:prstGeom>
        </p:spPr>
        <p:txBody>
          <a:bodyPr vert="horz" wrap="none" lIns="0" tIns="0" rIns="0" bIns="0" rtlCol="0" anchor="t"/>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CW1 Hypercare Playbook by BCM &amp; Training Team (Air &amp; LCL)</a:t>
            </a:r>
          </a:p>
        </p:txBody>
      </p:sp>
      <p:sp>
        <p:nvSpPr>
          <p:cNvPr id="7" name="Slide Number Placeholder 8">
            <a:extLst>
              <a:ext uri="{FF2B5EF4-FFF2-40B4-BE49-F238E27FC236}">
                <a16:creationId xmlns:a16="http://schemas.microsoft.com/office/drawing/2014/main" id="{A023E4A0-CC5F-2BD8-6C4E-35C57DD5602D}"/>
              </a:ext>
            </a:extLst>
          </p:cNvPr>
          <p:cNvSpPr txBox="1">
            <a:spLocks/>
          </p:cNvSpPr>
          <p:nvPr userDrawn="1"/>
        </p:nvSpPr>
        <p:spPr>
          <a:xfrm>
            <a:off x="11408486" y="6404482"/>
            <a:ext cx="412039" cy="185426"/>
          </a:xfrm>
          <a:prstGeom prst="rect">
            <a:avLst/>
          </a:prstGeom>
        </p:spPr>
        <p:txBody>
          <a:bodyPr vert="horz" wrap="none" lIns="0" tIns="0" rIns="0" bIns="0" rtlCol="0" anchor="t"/>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3A204BC-C5BA-4EF4-ABC8-D45123A0C528}" type="slidenum">
              <a:rPr lang="en-GB" smtClean="0">
                <a:solidFill>
                  <a:schemeClr val="bg1"/>
                </a:solidFill>
              </a:rPr>
              <a:pPr/>
              <a:t>‹#›</a:t>
            </a:fld>
            <a:endParaRPr lang="en-GB">
              <a:solidFill>
                <a:schemeClr val="bg1"/>
              </a:solidFill>
            </a:endParaRPr>
          </a:p>
        </p:txBody>
      </p:sp>
      <p:pic>
        <p:nvPicPr>
          <p:cNvPr id="8" name="Picture 29">
            <a:extLst>
              <a:ext uri="{FF2B5EF4-FFF2-40B4-BE49-F238E27FC236}">
                <a16:creationId xmlns:a16="http://schemas.microsoft.com/office/drawing/2014/main" id="{B56D96C1-A121-5DD2-9108-A31580A838E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71475" y="6165850"/>
            <a:ext cx="1299398" cy="320400"/>
          </a:xfrm>
          <a:prstGeom prst="rect">
            <a:avLst/>
          </a:prstGeom>
        </p:spPr>
      </p:pic>
    </p:spTree>
    <p:extLst>
      <p:ext uri="{BB962C8B-B14F-4D97-AF65-F5344CB8AC3E}">
        <p14:creationId xmlns:p14="http://schemas.microsoft.com/office/powerpoint/2010/main" val="4509765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325290" y="1439372"/>
            <a:ext cx="2917403" cy="486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mn-lt"/>
                <a:cs typeface="Arial" panose="020B0604020202020204" pitchFamily="34" charset="0"/>
              </a:rPr>
              <a:t>A. Insert corporate picture</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Brand Central App</a:t>
            </a:r>
            <a:r>
              <a:rPr lang="en-GB" altLang="da-DK" sz="900" b="0" baseline="0" noProof="1">
                <a:solidFill>
                  <a:schemeClr val="tx1"/>
                </a:solidFill>
                <a:latin typeface="+mn-lt"/>
                <a:cs typeface="Arial" panose="020B0604020202020204" pitchFamily="34" charset="0"/>
              </a:rPr>
              <a:t> in your PC/Mac icon menu</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hose brand,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select an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and drag it into your slid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mn-lt"/>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Insert</a:t>
            </a:r>
            <a:r>
              <a:rPr lang="en-GB" altLang="da-DK" sz="900" b="0" baseline="0" noProof="1">
                <a:solidFill>
                  <a:schemeClr val="tx1"/>
                </a:solidFill>
                <a:latin typeface="+mn-lt"/>
                <a:cs typeface="Arial" panose="020B0604020202020204" pitchFamily="34" charset="0"/>
              </a:rPr>
              <a:t> to browse for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a pictur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 </a:t>
            </a:r>
            <a:r>
              <a:rPr lang="en-GB" sz="900" b="1" noProof="0">
                <a:solidFill>
                  <a:srgbClr val="000000"/>
                </a:solidFill>
                <a:latin typeface="+mn-lt"/>
                <a:ea typeface="Times New Roman" panose="02020603050405020304" pitchFamily="18" charset="0"/>
              </a:rPr>
              <a:t>Insert copied picture</a:t>
            </a:r>
            <a:endParaRPr lang="en-GB" altLang="da-DK" sz="900" noProof="0">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paste</a:t>
            </a:r>
            <a:r>
              <a:rPr lang="en-GB" altLang="da-DK" sz="900" b="0" baseline="0" noProof="1">
                <a:solidFill>
                  <a:schemeClr val="tx1"/>
                </a:solidFill>
                <a:latin typeface="+mn-lt"/>
                <a:cs typeface="Arial" panose="020B0604020202020204" pitchFamily="34" charset="0"/>
              </a:rPr>
              <a:t> to browse for a picture</a:t>
            </a: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Guides</a:t>
            </a:r>
          </a:p>
          <a:p>
            <a:pPr eaLnBrk="1" hangingPunct="1">
              <a:spcAft>
                <a:spcPts val="600"/>
              </a:spcAft>
              <a:defRPr/>
            </a:pPr>
            <a:r>
              <a:rPr lang="en-GB" altLang="da-DK" sz="900" b="0" noProof="1">
                <a:solidFill>
                  <a:schemeClr val="tx1"/>
                </a:solidFill>
                <a:latin typeface="+mn-lt"/>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ing of guides</a:t>
            </a:r>
          </a:p>
          <a:p>
            <a:pPr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size</a:t>
            </a:r>
            <a:r>
              <a:rPr lang="en-GB" altLang="da-DK" sz="900" baseline="0" noProof="1">
                <a:solidFill>
                  <a:schemeClr val="tx1"/>
                </a:solidFill>
                <a:latin typeface="+mn-lt"/>
                <a:cs typeface="Arial" panose="020B0604020202020204" pitchFamily="34" charset="0"/>
              </a:rPr>
              <a:t> and formatting of the slide placeholders</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to their default settings</a:t>
            </a:r>
            <a:endParaRPr lang="en-GB" sz="900" noProof="1">
              <a:solidFill>
                <a:schemeClr val="tx1"/>
              </a:solidFill>
              <a:latin typeface="+mn-lt"/>
              <a:cs typeface="Arial" panose="020B0604020202020204" pitchFamily="34" charset="0"/>
            </a:endParaRPr>
          </a:p>
          <a:p>
            <a:pPr eaLnBrk="1" hangingPunct="1">
              <a:spcAft>
                <a:spcPts val="600"/>
              </a:spcAft>
              <a:defRPr/>
            </a:pPr>
            <a:endParaRPr lang="en-GB" altLang="da-DK" sz="900" b="1" noProof="1">
              <a:solidFill>
                <a:schemeClr val="tx1"/>
              </a:solidFill>
              <a:latin typeface="+mn-lt"/>
              <a:cs typeface="Arial" panose="020B0604020202020204" pitchFamily="34" charset="0"/>
            </a:endParaRPr>
          </a:p>
        </p:txBody>
      </p:sp>
      <p:sp>
        <p:nvSpPr>
          <p:cNvPr id="9" name="Header"/>
          <p:cNvSpPr txBox="1"/>
          <p:nvPr userDrawn="1"/>
        </p:nvSpPr>
        <p:spPr>
          <a:xfrm>
            <a:off x="481014" y="464888"/>
            <a:ext cx="11072810" cy="629149"/>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a:ln>
                  <a:noFill/>
                </a:ln>
                <a:solidFill>
                  <a:schemeClr val="accent1"/>
                </a:solidFill>
                <a:effectLst/>
                <a:uLnTx/>
                <a:uFillTx/>
                <a:latin typeface="+mj-lt"/>
                <a:ea typeface="+mj-ea"/>
                <a:cs typeface="Arial" panose="020B0604020202020204" pitchFamily="34" charset="0"/>
              </a:rPr>
              <a:t>User guide – delete before use</a:t>
            </a:r>
            <a:endParaRPr lang="en-GB" sz="1800" noProof="0">
              <a:solidFill>
                <a:schemeClr val="accent1"/>
              </a:solidFill>
              <a:latin typeface="+mj-lt"/>
            </a:endParaRPr>
          </a:p>
        </p:txBody>
      </p:sp>
      <p:sp>
        <p:nvSpPr>
          <p:cNvPr id="29" name="Text Box 2"/>
          <p:cNvSpPr txBox="1">
            <a:spLocks noChangeArrowheads="1"/>
          </p:cNvSpPr>
          <p:nvPr userDrawn="1"/>
        </p:nvSpPr>
        <p:spPr bwMode="auto">
          <a:xfrm>
            <a:off x="507139" y="1439372"/>
            <a:ext cx="2412000"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Use text</a:t>
            </a:r>
            <a:r>
              <a:rPr lang="en-GB" sz="900" b="1" baseline="0" noProof="1">
                <a:solidFill>
                  <a:schemeClr val="tx1"/>
                </a:solidFill>
                <a:latin typeface="+mn-lt"/>
                <a:cs typeface="Arial" panose="020B0604020202020204" pitchFamily="34" charset="0"/>
              </a:rPr>
              <a:t> styles</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GB" sz="900" b="1" noProof="0">
                <a:solidFill>
                  <a:srgbClr val="000000"/>
                </a:solidFill>
                <a:latin typeface="+mn-lt"/>
                <a:ea typeface="Times New Roman" panose="02020603050405020304" pitchFamily="18" charset="0"/>
              </a:rPr>
              <a:t>Insert</a:t>
            </a:r>
            <a:r>
              <a:rPr lang="en-GB" sz="900" b="1">
                <a:solidFill>
                  <a:srgbClr val="000000"/>
                </a:solidFill>
                <a:latin typeface="+mn-lt"/>
                <a:ea typeface="Times New Roman" panose="02020603050405020304" pitchFamily="18" charset="0"/>
              </a:rPr>
              <a:t> a New Slide</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on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on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to insert </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new slide</a:t>
            </a:r>
          </a:p>
          <a:p>
            <a:pPr eaLnBrk="1" hangingPunct="1">
              <a:spcBef>
                <a:spcPts val="1200"/>
              </a:spcBef>
              <a:spcAft>
                <a:spcPts val="600"/>
              </a:spcAft>
              <a:defRPr/>
            </a:pPr>
            <a:r>
              <a:rPr lang="en-GB" sz="900" b="1">
                <a:solidFill>
                  <a:srgbClr val="000000"/>
                </a:solidFill>
                <a:latin typeface="+mn-lt"/>
                <a:ea typeface="Times New Roman" panose="02020603050405020304" pitchFamily="18" charset="0"/>
              </a:rPr>
              <a:t>Change Slide Layout</a:t>
            </a:r>
            <a:endParaRPr lang="en-GB" altLang="da-DK" sz="900" noProof="1">
              <a:solidFill>
                <a:schemeClr val="tx1"/>
              </a:solidFill>
              <a:latin typeface="+mn-lt"/>
              <a:cs typeface="Arial" panose="020B0604020202020204" pitchFamily="34" charset="0"/>
            </a:endParaRPr>
          </a:p>
          <a:p>
            <a:pPr marL="0" indent="0">
              <a:spcAft>
                <a:spcPts val="600"/>
              </a:spcAft>
              <a:buFont typeface="+mj-lt"/>
              <a:buNone/>
            </a:pPr>
            <a:r>
              <a:rPr lang="en-GB" sz="900" b="1">
                <a:solidFill>
                  <a:srgbClr val="000000"/>
                </a:solidFill>
                <a:latin typeface="+mn-lt"/>
                <a:ea typeface="Times New Roman" panose="02020603050405020304" pitchFamily="18" charset="0"/>
              </a:rPr>
              <a:t>1</a:t>
            </a:r>
            <a:r>
              <a:rPr lang="en-GB" sz="900" b="1" noProof="0">
                <a:solidFill>
                  <a:srgbClr val="000000"/>
                </a:solidFill>
                <a:latin typeface="+mn-lt"/>
                <a:ea typeface="Times New Roman" panose="02020603050405020304" pitchFamily="18" charset="0"/>
              </a:rPr>
              <a:t>. </a:t>
            </a:r>
            <a:r>
              <a:rPr lang="en-GB" sz="900" noProof="0">
                <a:solidFill>
                  <a:srgbClr val="000000"/>
                </a:solidFill>
                <a:latin typeface="+mn-lt"/>
                <a:ea typeface="Times New Roman" panose="02020603050405020304" pitchFamily="18" charset="0"/>
              </a:rPr>
              <a:t>Click on the arrow next to </a:t>
            </a:r>
            <a:r>
              <a:rPr lang="en-GB" sz="900" b="1" noProof="0">
                <a:solidFill>
                  <a:srgbClr val="000000"/>
                </a:solidFill>
                <a:latin typeface="+mn-lt"/>
                <a:ea typeface="Times New Roman" panose="02020603050405020304" pitchFamily="18" charset="0"/>
              </a:rPr>
              <a:t>Layout</a:t>
            </a:r>
            <a:br>
              <a:rPr lang="en-GB" sz="900" b="1"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to view a dropdown menu of possible  layouts</a:t>
            </a:r>
            <a:endParaRPr lang="en-GB" sz="900" noProof="0">
              <a:latin typeface="+mn-lt"/>
              <a:ea typeface="Times New Roman" panose="02020603050405020304" pitchFamily="18" charset="0"/>
            </a:endParaRPr>
          </a:p>
          <a:p>
            <a:pPr marL="0" indent="0">
              <a:spcAft>
                <a:spcPts val="0"/>
              </a:spcAft>
              <a:buFont typeface="+mj-lt"/>
              <a:buNone/>
            </a:pPr>
            <a:r>
              <a:rPr lang="en-GB" sz="900" b="1" noProof="0">
                <a:solidFill>
                  <a:srgbClr val="000000"/>
                </a:solidFill>
                <a:latin typeface="+mn-lt"/>
                <a:ea typeface="Times New Roman" panose="02020603050405020304" pitchFamily="18" charset="0"/>
              </a:rPr>
              <a:t>2. </a:t>
            </a:r>
            <a:r>
              <a:rPr lang="en-GB" sz="900" noProof="0">
                <a:solidFill>
                  <a:srgbClr val="000000"/>
                </a:solidFill>
                <a:latin typeface="+mn-lt"/>
                <a:ea typeface="Times New Roman" panose="02020603050405020304" pitchFamily="18" charset="0"/>
              </a:rPr>
              <a:t>Click on the layout you prefer and it</a:t>
            </a:r>
            <a:br>
              <a:rPr lang="en-GB" sz="900" noProof="0">
                <a:solidFill>
                  <a:srgbClr val="000000"/>
                </a:solidFill>
                <a:latin typeface="+mn-lt"/>
                <a:ea typeface="Times New Roman" panose="02020603050405020304" pitchFamily="18" charset="0"/>
              </a:rPr>
            </a:br>
            <a:r>
              <a:rPr lang="en-GB" sz="900" noProof="0">
                <a:solidFill>
                  <a:srgbClr val="000000"/>
                </a:solidFill>
                <a:latin typeface="+mn-lt"/>
                <a:ea typeface="Times New Roman" panose="02020603050405020304" pitchFamily="18" charset="0"/>
              </a:rPr>
              <a:t>will be applied to the new slide</a:t>
            </a:r>
          </a:p>
        </p:txBody>
      </p:sp>
      <p:sp>
        <p:nvSpPr>
          <p:cNvPr id="25" name="Text Box 4"/>
          <p:cNvSpPr txBox="1">
            <a:spLocks noChangeArrowheads="1"/>
          </p:cNvSpPr>
          <p:nvPr userDrawn="1"/>
        </p:nvSpPr>
        <p:spPr bwMode="auto">
          <a:xfrm>
            <a:off x="8849935" y="1439372"/>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On slides with picture placeholder or any other placeholder, click on the placeholder.</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int: hold down the Shift button and click on the placeholder</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hange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endParaRPr lang="en-GB" sz="900" b="1" noProof="1">
              <a:solidFill>
                <a:schemeClr val="tx1"/>
              </a:solidFill>
              <a:latin typeface="+mn-lt"/>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ab</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mn-lt"/>
                <a:cs typeface="Arial" panose="020B0604020202020204" pitchFamily="34" charset="0"/>
              </a:rPr>
              <a:t>3.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757291" y="2308484"/>
            <a:ext cx="549328" cy="285228"/>
          </a:xfrm>
          <a:prstGeom prst="rect">
            <a:avLst/>
          </a:prstGeom>
        </p:spPr>
      </p:pic>
      <p:pic>
        <p:nvPicPr>
          <p:cNvPr id="13" name="2 New picture"/>
          <p:cNvPicPr>
            <a:picLocks noChangeAspect="1"/>
          </p:cNvPicPr>
          <p:nvPr userDrawn="1"/>
        </p:nvPicPr>
        <p:blipFill>
          <a:blip r:embed="rId3"/>
          <a:stretch>
            <a:fillRect/>
          </a:stretch>
        </p:blipFill>
        <p:spPr>
          <a:xfrm>
            <a:off x="2757291" y="4038223"/>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2757291" y="4861989"/>
            <a:ext cx="593368" cy="192211"/>
          </a:xfrm>
          <a:prstGeom prst="rect">
            <a:avLst/>
          </a:prstGeom>
        </p:spPr>
      </p:pic>
      <p:pic>
        <p:nvPicPr>
          <p:cNvPr id="19" name="4 Reset"/>
          <p:cNvPicPr>
            <a:picLocks noChangeAspect="1"/>
          </p:cNvPicPr>
          <p:nvPr userDrawn="1"/>
        </p:nvPicPr>
        <p:blipFill>
          <a:blip r:embed="rId5"/>
          <a:stretch>
            <a:fillRect/>
          </a:stretch>
        </p:blipFill>
        <p:spPr>
          <a:xfrm>
            <a:off x="7116372" y="5282559"/>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7028244" y="2583743"/>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a:srcRect l="1304" t="11451" r="30180" b="46035"/>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7072982" y="3558164"/>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a:srcRect l="1152" t="11676" r="31017" b="26411"/>
            <a:stretch/>
          </p:blipFill>
          <p:spPr>
            <a:xfrm>
              <a:off x="6442770" y="5155024"/>
              <a:ext cx="689279" cy="629150"/>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186326" y="2593712"/>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9"/>
          <a:stretch>
            <a:fillRect/>
          </a:stretch>
        </p:blipFill>
        <p:spPr>
          <a:xfrm>
            <a:off x="11186326" y="3510628"/>
            <a:ext cx="359695" cy="335309"/>
          </a:xfrm>
          <a:prstGeom prst="rect">
            <a:avLst/>
          </a:prstGeom>
        </p:spPr>
      </p:pic>
      <p:pic>
        <p:nvPicPr>
          <p:cNvPr id="22" name="Picture 21">
            <a:extLst>
              <a:ext uri="{FF2B5EF4-FFF2-40B4-BE49-F238E27FC236}">
                <a16:creationId xmlns:a16="http://schemas.microsoft.com/office/drawing/2014/main" id="{3C4EB944-268B-4588-9575-20967FF1FDE8}"/>
              </a:ext>
            </a:extLst>
          </p:cNvPr>
          <p:cNvPicPr>
            <a:picLocks noChangeAspect="1"/>
          </p:cNvPicPr>
          <p:nvPr userDrawn="1"/>
        </p:nvPicPr>
        <p:blipFill>
          <a:blip r:embed="rId10"/>
          <a:stretch>
            <a:fillRect/>
          </a:stretch>
        </p:blipFill>
        <p:spPr>
          <a:xfrm>
            <a:off x="2757291" y="3179601"/>
            <a:ext cx="257143" cy="285714"/>
          </a:xfrm>
          <a:prstGeom prst="rect">
            <a:avLst/>
          </a:prstGeom>
        </p:spPr>
      </p:pic>
      <p:sp>
        <p:nvSpPr>
          <p:cNvPr id="23" name="Date Placeholder 2">
            <a:extLst>
              <a:ext uri="{FF2B5EF4-FFF2-40B4-BE49-F238E27FC236}">
                <a16:creationId xmlns:a16="http://schemas.microsoft.com/office/drawing/2014/main" id="{C47240A8-F4C6-438F-B627-9F10AF7702F7}"/>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26" name="Footer Placeholder 3">
            <a:extLst>
              <a:ext uri="{FF2B5EF4-FFF2-40B4-BE49-F238E27FC236}">
                <a16:creationId xmlns:a16="http://schemas.microsoft.com/office/drawing/2014/main" id="{CE7E8215-C535-47A6-A19E-191CCD6226DF}"/>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Insert presentation title via Header &amp; Footer</a:t>
            </a:r>
          </a:p>
        </p:txBody>
      </p:sp>
      <p:sp>
        <p:nvSpPr>
          <p:cNvPr id="27" name="Slide Number Placeholder 4">
            <a:extLst>
              <a:ext uri="{FF2B5EF4-FFF2-40B4-BE49-F238E27FC236}">
                <a16:creationId xmlns:a16="http://schemas.microsoft.com/office/drawing/2014/main" id="{B1580671-F9A8-48F5-99CE-4A5C15752817}"/>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pic>
        <p:nvPicPr>
          <p:cNvPr id="3" name="Picture 2" descr="Icon&#10;&#10;Description automatically generated">
            <a:extLst>
              <a:ext uri="{FF2B5EF4-FFF2-40B4-BE49-F238E27FC236}">
                <a16:creationId xmlns:a16="http://schemas.microsoft.com/office/drawing/2014/main" id="{9314EC4D-2DD2-50D2-D68F-69DEFAC3361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065683" y="1411940"/>
            <a:ext cx="502771" cy="502771"/>
          </a:xfrm>
          <a:prstGeom prst="rect">
            <a:avLst/>
          </a:prstGeom>
        </p:spPr>
      </p:pic>
      <p:sp>
        <p:nvSpPr>
          <p:cNvPr id="4" name="TextBox 3">
            <a:extLst>
              <a:ext uri="{FF2B5EF4-FFF2-40B4-BE49-F238E27FC236}">
                <a16:creationId xmlns:a16="http://schemas.microsoft.com/office/drawing/2014/main" id="{14561FFF-3644-6FEA-FBAC-D605ABD9BDAF}"/>
              </a:ext>
            </a:extLst>
          </p:cNvPr>
          <p:cNvSpPr txBox="1"/>
          <p:nvPr userDrawn="1"/>
        </p:nvSpPr>
        <p:spPr>
          <a:xfrm>
            <a:off x="6831106" y="1734671"/>
            <a:ext cx="1553135" cy="618340"/>
          </a:xfrm>
          <a:prstGeom prst="rect">
            <a:avLst/>
          </a:prstGeom>
          <a:noFill/>
        </p:spPr>
        <p:txBody>
          <a:bodyPr wrap="square" lIns="237600" tIns="237600" rIns="237600" bIns="237600" rtlCol="0">
            <a:spAutoFit/>
          </a:bodyPr>
          <a:lstStyle/>
          <a:p>
            <a:pPr algn="l"/>
            <a:r>
              <a:rPr lang="en-DK" sz="900" b="1"/>
              <a:t>Brand Central App</a:t>
            </a:r>
          </a:p>
        </p:txBody>
      </p:sp>
    </p:spTree>
    <p:extLst>
      <p:ext uri="{BB962C8B-B14F-4D97-AF65-F5344CB8AC3E}">
        <p14:creationId xmlns:p14="http://schemas.microsoft.com/office/powerpoint/2010/main" val="16618065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i="0" noProof="0">
                <a:solidFill>
                  <a:schemeClr val="bg1"/>
                </a:solidFill>
              </a:rPr>
              <a:t>If you see any </a:t>
            </a:r>
            <a:r>
              <a:rPr lang="en-GB" sz="4400" b="1" i="0" noProof="0">
                <a:solidFill>
                  <a:schemeClr val="bg1"/>
                </a:solidFill>
              </a:rPr>
              <a:t>layouts after this </a:t>
            </a:r>
            <a:r>
              <a:rPr lang="en-GB" sz="4400" b="0" i="0" noProof="0">
                <a:solidFill>
                  <a:schemeClr val="bg1"/>
                </a:solidFill>
              </a:rPr>
              <a:t>one</a:t>
            </a:r>
            <a:r>
              <a:rPr lang="en-GB" sz="4400" b="1" i="0" noProof="0">
                <a:solidFill>
                  <a:schemeClr val="bg1"/>
                </a:solidFill>
              </a:rPr>
              <a:t>,</a:t>
            </a:r>
            <a:br>
              <a:rPr lang="en-GB" sz="4400" b="0" i="0" noProof="0">
                <a:solidFill>
                  <a:schemeClr val="bg1"/>
                </a:solidFill>
              </a:rPr>
            </a:br>
            <a:r>
              <a:rPr lang="en-GB" sz="4400" b="0" i="0" noProof="0">
                <a:solidFill>
                  <a:schemeClr val="bg1"/>
                </a:solidFill>
              </a:rPr>
              <a:t>do not use them. These layouts </a:t>
            </a:r>
            <a:r>
              <a:rPr lang="en-GB" sz="4400" b="1" i="0" u="none" noProof="0">
                <a:solidFill>
                  <a:schemeClr val="bg1"/>
                </a:solidFill>
              </a:rPr>
              <a:t>are not </a:t>
            </a:r>
            <a:r>
              <a:rPr lang="en-GB" sz="4400" b="0" i="0" noProof="0">
                <a:solidFill>
                  <a:schemeClr val="bg1"/>
                </a:solidFill>
              </a:rPr>
              <a:t>part of our corporate template.</a:t>
            </a:r>
            <a:br>
              <a:rPr lang="en-GB" sz="2800" b="0" i="0" noProof="0">
                <a:solidFill>
                  <a:schemeClr val="bg1"/>
                </a:solidFill>
              </a:rPr>
            </a:br>
            <a:br>
              <a:rPr lang="en-GB" sz="2800" b="0" i="0" noProof="0">
                <a:solidFill>
                  <a:schemeClr val="bg1"/>
                </a:solidFill>
              </a:rPr>
            </a:br>
            <a:endParaRPr lang="en-GB" sz="2800" b="0" i="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0" noProof="0">
                <a:solidFill>
                  <a:schemeClr val="bg1"/>
                </a:solidFill>
              </a:rPr>
              <a:t>Do not use </a:t>
            </a:r>
            <a:endParaRPr lang="en-GB" sz="2400" b="1" i="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Insert presentation title via Header &amp; Footer</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403792417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2.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theme" Target="../theme/theme3.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41" Type="http://schemas.openxmlformats.org/officeDocument/2006/relationships/slideLayout" Target="../slideLayouts/slideLayout94.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image" Target="../media/image2.sv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image" Target="../media/image1.png"/><Relationship Id="rId8" Type="http://schemas.openxmlformats.org/officeDocument/2006/relationships/slideLayout" Target="../slideLayouts/slideLayout61.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1475" y="1943739"/>
            <a:ext cx="11449050" cy="3689618"/>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Subhead</a:t>
            </a:r>
          </a:p>
          <a:p>
            <a:pPr lvl="4"/>
            <a:r>
              <a:rPr lang="en-GB" noProof="0" dirty="0"/>
              <a:t>Level 5, headline</a:t>
            </a:r>
          </a:p>
          <a:p>
            <a:pPr lvl="5"/>
            <a:r>
              <a:rPr lang="en-GB" noProof="0" dirty="0"/>
              <a:t>Level 6, headline</a:t>
            </a:r>
          </a:p>
          <a:p>
            <a:pPr lvl="6"/>
            <a:r>
              <a:rPr lang="en-GB" noProof="0" dirty="0"/>
              <a:t>Level 7, note</a:t>
            </a:r>
          </a:p>
          <a:p>
            <a:pPr lvl="7"/>
            <a:r>
              <a:rPr lang="en-GB" noProof="0" dirty="0"/>
              <a:t>Level 8</a:t>
            </a:r>
          </a:p>
          <a:p>
            <a:pPr lvl="8"/>
            <a:r>
              <a:rPr lang="en-GB" noProof="0" dirty="0"/>
              <a:t>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71475" y="368300"/>
            <a:ext cx="11449050" cy="930275"/>
          </a:xfrm>
          <a:prstGeom prst="rect">
            <a:avLst/>
          </a:prstGeom>
        </p:spPr>
        <p:txBody>
          <a:bodyPr vert="horz" lIns="0" tIns="0" rIns="0" bIns="0" rtlCol="0" anchor="t" anchorCtr="0">
            <a:noAutofit/>
          </a:bodyPr>
          <a:lstStyle/>
          <a:p>
            <a:endParaRPr lang="en-GB" dirty="0"/>
          </a:p>
        </p:txBody>
      </p:sp>
      <p:sp>
        <p:nvSpPr>
          <p:cNvPr id="2" name="Date Placeholder 1" hidden="1">
            <a:extLst>
              <a:ext uri="{FF2B5EF4-FFF2-40B4-BE49-F238E27FC236}">
                <a16:creationId xmlns:a16="http://schemas.microsoft.com/office/drawing/2014/main" id="{61512BDD-E313-4203-808B-6ECBEE0B5BB4}"/>
              </a:ext>
            </a:extLst>
          </p:cNvPr>
          <p:cNvSpPr>
            <a:spLocks noGrp="1"/>
          </p:cNvSpPr>
          <p:nvPr userDrawn="1">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endParaRPr lang="en-GB" dirty="0"/>
          </a:p>
        </p:txBody>
      </p:sp>
      <p:grpSp>
        <p:nvGrpSpPr>
          <p:cNvPr id="114" name="Group 113" hidden="1">
            <a:extLst>
              <a:ext uri="{FF2B5EF4-FFF2-40B4-BE49-F238E27FC236}">
                <a16:creationId xmlns:a16="http://schemas.microsoft.com/office/drawing/2014/main" id="{A709D695-914B-4705-8AC6-A94C2721C5E6}"/>
              </a:ext>
            </a:extLst>
          </p:cNvPr>
          <p:cNvGrpSpPr/>
          <p:nvPr userDrawn="1"/>
        </p:nvGrpSpPr>
        <p:grpSpPr>
          <a:xfrm>
            <a:off x="500062" y="501647"/>
            <a:ext cx="11194852" cy="5862641"/>
            <a:chOff x="500062" y="501647"/>
            <a:chExt cx="11194852" cy="5862641"/>
          </a:xfrm>
        </p:grpSpPr>
        <p:sp>
          <p:nvSpPr>
            <p:cNvPr id="115" name="Rectangle 114">
              <a:extLst>
                <a:ext uri="{FF2B5EF4-FFF2-40B4-BE49-F238E27FC236}">
                  <a16:creationId xmlns:a16="http://schemas.microsoft.com/office/drawing/2014/main" id="{D94117C3-ACEB-4551-92D6-E8776CE33870}"/>
                </a:ext>
              </a:extLst>
            </p:cNvPr>
            <p:cNvSpPr/>
            <p:nvPr/>
          </p:nvSpPr>
          <p:spPr>
            <a:xfrm>
              <a:off x="50462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6" name="Rectangle 115">
              <a:extLst>
                <a:ext uri="{FF2B5EF4-FFF2-40B4-BE49-F238E27FC236}">
                  <a16:creationId xmlns:a16="http://schemas.microsoft.com/office/drawing/2014/main" id="{DB4EA52B-9F03-4154-94D6-DCF629E0A517}"/>
                </a:ext>
              </a:extLst>
            </p:cNvPr>
            <p:cNvSpPr/>
            <p:nvPr/>
          </p:nvSpPr>
          <p:spPr>
            <a:xfrm>
              <a:off x="1456839"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7" name="Rectangle 116">
              <a:extLst>
                <a:ext uri="{FF2B5EF4-FFF2-40B4-BE49-F238E27FC236}">
                  <a16:creationId xmlns:a16="http://schemas.microsoft.com/office/drawing/2014/main" id="{ADABCB14-BA75-4B31-8404-F842D634C5FA}"/>
                </a:ext>
              </a:extLst>
            </p:cNvPr>
            <p:cNvSpPr/>
            <p:nvPr/>
          </p:nvSpPr>
          <p:spPr>
            <a:xfrm>
              <a:off x="8122316"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8" name="Rectangle 117">
              <a:extLst>
                <a:ext uri="{FF2B5EF4-FFF2-40B4-BE49-F238E27FC236}">
                  <a16:creationId xmlns:a16="http://schemas.microsoft.com/office/drawing/2014/main" id="{222E1F28-617C-42B1-A6FF-BB511F216035}"/>
                </a:ext>
              </a:extLst>
            </p:cNvPr>
            <p:cNvSpPr/>
            <p:nvPr/>
          </p:nvSpPr>
          <p:spPr>
            <a:xfrm>
              <a:off x="9074527"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9" name="Rectangle 118">
              <a:extLst>
                <a:ext uri="{FF2B5EF4-FFF2-40B4-BE49-F238E27FC236}">
                  <a16:creationId xmlns:a16="http://schemas.microsoft.com/office/drawing/2014/main" id="{E69EDA3C-B72E-4595-A9E9-C52463512844}"/>
                </a:ext>
              </a:extLst>
            </p:cNvPr>
            <p:cNvSpPr/>
            <p:nvPr/>
          </p:nvSpPr>
          <p:spPr>
            <a:xfrm>
              <a:off x="1002673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0" name="Rectangle 119">
              <a:extLst>
                <a:ext uri="{FF2B5EF4-FFF2-40B4-BE49-F238E27FC236}">
                  <a16:creationId xmlns:a16="http://schemas.microsoft.com/office/drawing/2014/main" id="{289C1C4C-D89D-4FF0-935C-26D17097F22D}"/>
                </a:ext>
              </a:extLst>
            </p:cNvPr>
            <p:cNvSpPr/>
            <p:nvPr/>
          </p:nvSpPr>
          <p:spPr>
            <a:xfrm>
              <a:off x="109789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1" name="Rectangle 120">
              <a:extLst>
                <a:ext uri="{FF2B5EF4-FFF2-40B4-BE49-F238E27FC236}">
                  <a16:creationId xmlns:a16="http://schemas.microsoft.com/office/drawing/2014/main" id="{A520FBBD-719C-461F-A18E-15DEEF9344D5}"/>
                </a:ext>
              </a:extLst>
            </p:cNvPr>
            <p:cNvSpPr/>
            <p:nvPr/>
          </p:nvSpPr>
          <p:spPr>
            <a:xfrm>
              <a:off x="7170105"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2" name="Rectangle 121">
              <a:extLst>
                <a:ext uri="{FF2B5EF4-FFF2-40B4-BE49-F238E27FC236}">
                  <a16:creationId xmlns:a16="http://schemas.microsoft.com/office/drawing/2014/main" id="{B8152350-997B-4F9F-AF5B-0640D5A22D60}"/>
                </a:ext>
              </a:extLst>
            </p:cNvPr>
            <p:cNvSpPr/>
            <p:nvPr/>
          </p:nvSpPr>
          <p:spPr>
            <a:xfrm>
              <a:off x="6217894"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3" name="Rectangle 122">
              <a:extLst>
                <a:ext uri="{FF2B5EF4-FFF2-40B4-BE49-F238E27FC236}">
                  <a16:creationId xmlns:a16="http://schemas.microsoft.com/office/drawing/2014/main" id="{CE7E2C06-3591-4F16-A6C9-26D03AFE7A9F}"/>
                </a:ext>
              </a:extLst>
            </p:cNvPr>
            <p:cNvSpPr/>
            <p:nvPr/>
          </p:nvSpPr>
          <p:spPr>
            <a:xfrm>
              <a:off x="5265683"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4" name="Rectangle 123">
              <a:extLst>
                <a:ext uri="{FF2B5EF4-FFF2-40B4-BE49-F238E27FC236}">
                  <a16:creationId xmlns:a16="http://schemas.microsoft.com/office/drawing/2014/main" id="{4D92D19D-15E4-4E02-9555-F731FC602CCC}"/>
                </a:ext>
              </a:extLst>
            </p:cNvPr>
            <p:cNvSpPr/>
            <p:nvPr/>
          </p:nvSpPr>
          <p:spPr>
            <a:xfrm>
              <a:off x="4313472"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5" name="Rectangle 124">
              <a:extLst>
                <a:ext uri="{FF2B5EF4-FFF2-40B4-BE49-F238E27FC236}">
                  <a16:creationId xmlns:a16="http://schemas.microsoft.com/office/drawing/2014/main" id="{8A5793D9-80BF-4104-A4AB-DD353A2513BA}"/>
                </a:ext>
              </a:extLst>
            </p:cNvPr>
            <p:cNvSpPr/>
            <p:nvPr/>
          </p:nvSpPr>
          <p:spPr>
            <a:xfrm>
              <a:off x="3361261"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6" name="Rectangle 125">
              <a:extLst>
                <a:ext uri="{FF2B5EF4-FFF2-40B4-BE49-F238E27FC236}">
                  <a16:creationId xmlns:a16="http://schemas.microsoft.com/office/drawing/2014/main" id="{9298F0B0-8A2D-4275-9CBC-81577EF8011C}"/>
                </a:ext>
              </a:extLst>
            </p:cNvPr>
            <p:cNvSpPr/>
            <p:nvPr/>
          </p:nvSpPr>
          <p:spPr>
            <a:xfrm>
              <a:off x="24090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7" name="Rectangle 126">
              <a:extLst>
                <a:ext uri="{FF2B5EF4-FFF2-40B4-BE49-F238E27FC236}">
                  <a16:creationId xmlns:a16="http://schemas.microsoft.com/office/drawing/2014/main" id="{C6FF5141-D9A4-40D9-AE0A-9FAA2ECE1656}"/>
                </a:ext>
              </a:extLst>
            </p:cNvPr>
            <p:cNvSpPr/>
            <p:nvPr/>
          </p:nvSpPr>
          <p:spPr>
            <a:xfrm>
              <a:off x="500062" y="194373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8" name="Rectangle 127">
              <a:extLst>
                <a:ext uri="{FF2B5EF4-FFF2-40B4-BE49-F238E27FC236}">
                  <a16:creationId xmlns:a16="http://schemas.microsoft.com/office/drawing/2014/main" id="{F254B338-3EBA-4D36-86E8-9C09EF7C02B8}"/>
                </a:ext>
              </a:extLst>
            </p:cNvPr>
            <p:cNvSpPr/>
            <p:nvPr/>
          </p:nvSpPr>
          <p:spPr>
            <a:xfrm>
              <a:off x="500062" y="273316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9" name="Rectangle 128">
              <a:extLst>
                <a:ext uri="{FF2B5EF4-FFF2-40B4-BE49-F238E27FC236}">
                  <a16:creationId xmlns:a16="http://schemas.microsoft.com/office/drawing/2014/main" id="{FE8AE6C3-0AFF-40F6-88C7-3A7C8A014488}"/>
                </a:ext>
              </a:extLst>
            </p:cNvPr>
            <p:cNvSpPr/>
            <p:nvPr/>
          </p:nvSpPr>
          <p:spPr>
            <a:xfrm>
              <a:off x="500062" y="352259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0" name="Rectangle 129">
              <a:extLst>
                <a:ext uri="{FF2B5EF4-FFF2-40B4-BE49-F238E27FC236}">
                  <a16:creationId xmlns:a16="http://schemas.microsoft.com/office/drawing/2014/main" id="{53E9EF65-B326-497A-9EE0-EFC57318F203}"/>
                </a:ext>
              </a:extLst>
            </p:cNvPr>
            <p:cNvSpPr/>
            <p:nvPr/>
          </p:nvSpPr>
          <p:spPr>
            <a:xfrm>
              <a:off x="500062" y="4309364"/>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1" name="Rectangle 130">
              <a:extLst>
                <a:ext uri="{FF2B5EF4-FFF2-40B4-BE49-F238E27FC236}">
                  <a16:creationId xmlns:a16="http://schemas.microsoft.com/office/drawing/2014/main" id="{BA518688-2A30-4B00-97FA-A9EA1D196D35}"/>
                </a:ext>
              </a:extLst>
            </p:cNvPr>
            <p:cNvSpPr/>
            <p:nvPr/>
          </p:nvSpPr>
          <p:spPr>
            <a:xfrm>
              <a:off x="500062" y="5084795"/>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2" name="Rectangle 131">
              <a:extLst>
                <a:ext uri="{FF2B5EF4-FFF2-40B4-BE49-F238E27FC236}">
                  <a16:creationId xmlns:a16="http://schemas.microsoft.com/office/drawing/2014/main" id="{1F693842-B64A-4087-9E5F-5199914B2E05}"/>
                </a:ext>
              </a:extLst>
            </p:cNvPr>
            <p:cNvSpPr/>
            <p:nvPr/>
          </p:nvSpPr>
          <p:spPr>
            <a:xfrm>
              <a:off x="500063" y="501647"/>
              <a:ext cx="11190287" cy="93097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grpSp>
      <p:sp>
        <p:nvSpPr>
          <p:cNvPr id="5" name="TextBox 4">
            <a:extLst>
              <a:ext uri="{FF2B5EF4-FFF2-40B4-BE49-F238E27FC236}">
                <a16:creationId xmlns:a16="http://schemas.microsoft.com/office/drawing/2014/main" id="{3572D74A-7938-1646-84EC-EA01E1E70391}"/>
              </a:ext>
            </a:extLst>
          </p:cNvPr>
          <p:cNvSpPr txBox="1"/>
          <p:nvPr>
            <p:extLst>
              <p:ext uri="{1162E1C5-73C7-4A58-AE30-91384D911F3F}">
                <p184:classification xmlns:p184="http://schemas.microsoft.com/office/powerpoint/2018/4/main" val="ftr"/>
              </p:ext>
            </p:extLst>
          </p:nvPr>
        </p:nvSpPr>
        <p:spPr>
          <a:xfrm>
            <a:off x="190500" y="6515100"/>
            <a:ext cx="1165225" cy="152400"/>
          </a:xfrm>
          <a:prstGeom prst="rect">
            <a:avLst/>
          </a:prstGeom>
        </p:spPr>
        <p:txBody>
          <a:bodyPr horzOverflow="overflow" lIns="0" tIns="0" rIns="0" bIns="0">
            <a:spAutoFit/>
          </a:bodyPr>
          <a:lstStyle/>
          <a:p>
            <a:pPr algn="l"/>
            <a:r>
              <a:rPr lang="en-DK"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Classification: Internal</a:t>
            </a:r>
          </a:p>
        </p:txBody>
      </p:sp>
      <p:pic>
        <p:nvPicPr>
          <p:cNvPr id="8" name="Picture 29">
            <a:extLst>
              <a:ext uri="{FF2B5EF4-FFF2-40B4-BE49-F238E27FC236}">
                <a16:creationId xmlns:a16="http://schemas.microsoft.com/office/drawing/2014/main" id="{EB0A6C97-0A67-2608-ED3D-E07850A65ABC}"/>
              </a:ext>
            </a:extLst>
          </p:cNvPr>
          <p:cNvPicPr>
            <a:picLocks noChangeAspect="1"/>
          </p:cNvPicPr>
          <p:nvPr userDrawn="1"/>
        </p:nvPicPr>
        <p:blipFill>
          <a:blip r:embed="rId44">
            <a:extLst>
              <a:ext uri="{96DAC541-7B7A-43D3-8B79-37D633B846F1}">
                <asvg:svgBlip xmlns:asvg="http://schemas.microsoft.com/office/drawing/2016/SVG/main" r:embed="rId45"/>
              </a:ext>
            </a:extLst>
          </a:blip>
          <a:srcRect/>
          <a:stretch/>
        </p:blipFill>
        <p:spPr>
          <a:xfrm>
            <a:off x="371475" y="6169025"/>
            <a:ext cx="1299398" cy="320399"/>
          </a:xfrm>
          <a:prstGeom prst="rect">
            <a:avLst/>
          </a:prstGeom>
        </p:spPr>
      </p:pic>
      <p:sp>
        <p:nvSpPr>
          <p:cNvPr id="9" name="Footer Placeholder 7">
            <a:extLst>
              <a:ext uri="{FF2B5EF4-FFF2-40B4-BE49-F238E27FC236}">
                <a16:creationId xmlns:a16="http://schemas.microsoft.com/office/drawing/2014/main" id="{B064AFF6-77E1-40D5-A21D-E890E8D4D99A}"/>
              </a:ext>
            </a:extLst>
          </p:cNvPr>
          <p:cNvSpPr txBox="1">
            <a:spLocks/>
          </p:cNvSpPr>
          <p:nvPr userDrawn="1"/>
        </p:nvSpPr>
        <p:spPr>
          <a:xfrm>
            <a:off x="7563606" y="6404481"/>
            <a:ext cx="3285369" cy="185427"/>
          </a:xfrm>
          <a:prstGeom prst="rect">
            <a:avLst/>
          </a:prstGeom>
        </p:spPr>
        <p:txBody>
          <a:bodyPr vert="horz" wrap="none" lIns="0" tIns="0" rIns="0" bIns="0" rtlCol="0" anchor="t"/>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One Standard Way of Working</a:t>
            </a:r>
          </a:p>
        </p:txBody>
      </p:sp>
      <p:sp>
        <p:nvSpPr>
          <p:cNvPr id="10" name="Slide Number Placeholder 8">
            <a:extLst>
              <a:ext uri="{FF2B5EF4-FFF2-40B4-BE49-F238E27FC236}">
                <a16:creationId xmlns:a16="http://schemas.microsoft.com/office/drawing/2014/main" id="{B2665827-5711-0244-D385-B320662775C3}"/>
              </a:ext>
            </a:extLst>
          </p:cNvPr>
          <p:cNvSpPr txBox="1">
            <a:spLocks/>
          </p:cNvSpPr>
          <p:nvPr userDrawn="1"/>
        </p:nvSpPr>
        <p:spPr>
          <a:xfrm>
            <a:off x="11408486" y="6404482"/>
            <a:ext cx="412039" cy="185426"/>
          </a:xfrm>
          <a:prstGeom prst="rect">
            <a:avLst/>
          </a:prstGeom>
        </p:spPr>
        <p:txBody>
          <a:bodyPr vert="horz" wrap="none" lIns="0" tIns="0" rIns="0" bIns="0" rtlCol="0" anchor="t"/>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3A204BC-C5BA-4EF4-ABC8-D45123A0C528}" type="slidenum">
              <a:rPr lang="en-GB" smtClean="0"/>
              <a:pPr/>
              <a:t>‹#›</a:t>
            </a:fld>
            <a:endParaRPr lang="en-GB" dirty="0"/>
          </a:p>
        </p:txBody>
      </p:sp>
    </p:spTree>
    <p:extLst>
      <p:ext uri="{BB962C8B-B14F-4D97-AF65-F5344CB8AC3E}">
        <p14:creationId xmlns:p14="http://schemas.microsoft.com/office/powerpoint/2010/main" val="11851888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56" r:id="rId42"/>
  </p:sldLayoutIdLst>
  <p:hf hdr="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2">
          <p15:clr>
            <a:srgbClr val="F26B43"/>
          </p15:clr>
        </p15:guide>
        <p15:guide id="4" orient="horz" pos="4088">
          <p15:clr>
            <a:srgbClr val="F26B43"/>
          </p15:clr>
        </p15:guide>
        <p15:guide id="9" pos="6357">
          <p15:clr>
            <a:srgbClr val="F26B43"/>
          </p15:clr>
        </p15:guide>
        <p15:guide id="10" pos="6834">
          <p15:clr>
            <a:srgbClr val="F26B43"/>
          </p15:clr>
        </p15:guide>
        <p15:guide id="11" pos="6970">
          <p15:clr>
            <a:srgbClr val="F26B43"/>
          </p15:clr>
        </p15:guide>
        <p15:guide id="12" pos="7446">
          <p15:clr>
            <a:srgbClr val="F26B43"/>
          </p15:clr>
        </p15:guide>
        <p15:guide id="15" pos="5745">
          <p15:clr>
            <a:srgbClr val="F26B43"/>
          </p15:clr>
        </p15:guide>
        <p15:guide id="16" pos="6221">
          <p15:clr>
            <a:srgbClr val="F26B43"/>
          </p15:clr>
        </p15:guide>
        <p15:guide id="17" pos="5133">
          <p15:clr>
            <a:srgbClr val="F26B43"/>
          </p15:clr>
        </p15:guide>
        <p15:guide id="18" pos="5609">
          <p15:clr>
            <a:srgbClr val="F26B43"/>
          </p15:clr>
        </p15:guide>
        <p15:guide id="19" pos="2071">
          <p15:clr>
            <a:srgbClr val="F26B43"/>
          </p15:clr>
        </p15:guide>
        <p15:guide id="20" pos="2547">
          <p15:clr>
            <a:srgbClr val="F26B43"/>
          </p15:clr>
        </p15:guide>
        <p15:guide id="21" pos="1459">
          <p15:clr>
            <a:srgbClr val="F26B43"/>
          </p15:clr>
        </p15:guide>
        <p15:guide id="22" pos="1935">
          <p15:clr>
            <a:srgbClr val="F26B43"/>
          </p15:clr>
        </p15:guide>
        <p15:guide id="23" pos="846">
          <p15:clr>
            <a:srgbClr val="F26B43"/>
          </p15:clr>
        </p15:guide>
        <p15:guide id="24" pos="1323">
          <p15:clr>
            <a:srgbClr val="F26B43"/>
          </p15:clr>
        </p15:guide>
        <p15:guide id="25" pos="234">
          <p15:clr>
            <a:srgbClr val="F26B43"/>
          </p15:clr>
        </p15:guide>
        <p15:guide id="26" pos="710">
          <p15:clr>
            <a:srgbClr val="F26B43"/>
          </p15:clr>
        </p15:guide>
        <p15:guide id="42" orient="horz" pos="2160">
          <p15:clr>
            <a:srgbClr val="000000"/>
          </p15:clr>
        </p15:guide>
        <p15:guide id="43" pos="3840">
          <p15:clr>
            <a:srgbClr val="000000"/>
          </p15:clr>
        </p15:guide>
        <p15:guide id="44" pos="2683">
          <p15:clr>
            <a:srgbClr val="F26B43"/>
          </p15:clr>
        </p15:guide>
        <p15:guide id="45" pos="4520">
          <p15:clr>
            <a:srgbClr val="F26B43"/>
          </p15:clr>
        </p15:guide>
        <p15:guide id="46" pos="3296">
          <p15:clr>
            <a:srgbClr val="F26B43"/>
          </p15:clr>
        </p15:guide>
        <p15:guide id="47" pos="4384">
          <p15:clr>
            <a:srgbClr val="F26B43"/>
          </p15:clr>
        </p15:guide>
        <p15:guide id="48" pos="3160">
          <p15:clr>
            <a:srgbClr val="F26B43"/>
          </p15:clr>
        </p15:guide>
        <p15:guide id="49" pos="3772">
          <p15:clr>
            <a:srgbClr val="F26B43"/>
          </p15:clr>
        </p15:guide>
        <p15:guide id="50" pos="3908">
          <p15:clr>
            <a:srgbClr val="F26B43"/>
          </p15:clr>
        </p15:guide>
        <p15:guide id="51" orient="horz" pos="3884">
          <p15:clr>
            <a:srgbClr val="F26B43"/>
          </p15:clr>
        </p15:guide>
        <p15:guide id="52" pos="499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0C2B0F-B2AC-FE72-9DD6-2F3C4D4D2A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DK"/>
          </a:p>
        </p:txBody>
      </p:sp>
      <p:sp>
        <p:nvSpPr>
          <p:cNvPr id="3" name="Text Placeholder 2">
            <a:extLst>
              <a:ext uri="{FF2B5EF4-FFF2-40B4-BE49-F238E27FC236}">
                <a16:creationId xmlns:a16="http://schemas.microsoft.com/office/drawing/2014/main" id="{3C5CFC05-CAF3-DB94-A452-1023B50C343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4" name="Date Placeholder 3">
            <a:extLst>
              <a:ext uri="{FF2B5EF4-FFF2-40B4-BE49-F238E27FC236}">
                <a16:creationId xmlns:a16="http://schemas.microsoft.com/office/drawing/2014/main" id="{8BA4647F-9551-4503-E974-22D2669D03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E45E821-59C2-4E59-8C0B-680688E9B244}" type="datetimeFigureOut">
              <a:rPr lang="en-DK" smtClean="0"/>
              <a:t>10/1/25</a:t>
            </a:fld>
            <a:endParaRPr lang="en-DK"/>
          </a:p>
        </p:txBody>
      </p:sp>
      <p:sp>
        <p:nvSpPr>
          <p:cNvPr id="5" name="Footer Placeholder 4">
            <a:extLst>
              <a:ext uri="{FF2B5EF4-FFF2-40B4-BE49-F238E27FC236}">
                <a16:creationId xmlns:a16="http://schemas.microsoft.com/office/drawing/2014/main" id="{968C90FB-8C8F-C4BE-A568-AE9FCADF0E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DK"/>
          </a:p>
        </p:txBody>
      </p:sp>
      <p:sp>
        <p:nvSpPr>
          <p:cNvPr id="6" name="Slide Number Placeholder 5">
            <a:extLst>
              <a:ext uri="{FF2B5EF4-FFF2-40B4-BE49-F238E27FC236}">
                <a16:creationId xmlns:a16="http://schemas.microsoft.com/office/drawing/2014/main" id="{0508073B-5744-3560-8B19-CD7E08E46C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E31FF26-17A8-4C52-A8BC-8A1C1B61DD2B}" type="slidenum">
              <a:rPr lang="en-DK" smtClean="0"/>
              <a:t>‹#›</a:t>
            </a:fld>
            <a:endParaRPr lang="en-DK"/>
          </a:p>
        </p:txBody>
      </p:sp>
    </p:spTree>
    <p:extLst>
      <p:ext uri="{BB962C8B-B14F-4D97-AF65-F5344CB8AC3E}">
        <p14:creationId xmlns:p14="http://schemas.microsoft.com/office/powerpoint/2010/main" val="303134720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1475" y="1943739"/>
            <a:ext cx="11449050" cy="3689618"/>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Subhead</a:t>
            </a:r>
          </a:p>
          <a:p>
            <a:pPr lvl="4"/>
            <a:r>
              <a:rPr lang="en-GB" noProof="0"/>
              <a:t>Level 5, headline</a:t>
            </a:r>
          </a:p>
          <a:p>
            <a:pPr lvl="5"/>
            <a:r>
              <a:rPr lang="en-GB" noProof="0"/>
              <a:t>Level 6, headline</a:t>
            </a:r>
          </a:p>
          <a:p>
            <a:pPr lvl="6"/>
            <a:r>
              <a:rPr lang="en-GB" noProof="0"/>
              <a:t>Level 7, note</a:t>
            </a:r>
          </a:p>
          <a:p>
            <a:pPr lvl="7"/>
            <a:r>
              <a:rPr lang="en-GB" noProof="0"/>
              <a:t>Level 8</a:t>
            </a:r>
          </a:p>
          <a:p>
            <a:pPr lvl="8"/>
            <a:r>
              <a:rPr lang="en-GB" noProof="0"/>
              <a:t>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71475" y="368300"/>
            <a:ext cx="11449050" cy="930275"/>
          </a:xfrm>
          <a:prstGeom prst="rect">
            <a:avLst/>
          </a:prstGeom>
        </p:spPr>
        <p:txBody>
          <a:bodyPr vert="horz" lIns="0" tIns="0" rIns="0" bIns="0" rtlCol="0" anchor="t" anchorCtr="0">
            <a:noAutofit/>
          </a:bodyPr>
          <a:lstStyle/>
          <a:p>
            <a:endParaRPr lang="en-GB"/>
          </a:p>
        </p:txBody>
      </p:sp>
      <p:sp>
        <p:nvSpPr>
          <p:cNvPr id="2" name="Date Placeholder 1" hidden="1">
            <a:extLst>
              <a:ext uri="{FF2B5EF4-FFF2-40B4-BE49-F238E27FC236}">
                <a16:creationId xmlns:a16="http://schemas.microsoft.com/office/drawing/2014/main" id="{61512BDD-E313-4203-808B-6ECBEE0B5BB4}"/>
              </a:ext>
            </a:extLst>
          </p:cNvPr>
          <p:cNvSpPr>
            <a:spLocks noGrp="1"/>
          </p:cNvSpPr>
          <p:nvPr userDrawn="1">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endParaRPr lang="en-GB"/>
          </a:p>
        </p:txBody>
      </p:sp>
      <p:grpSp>
        <p:nvGrpSpPr>
          <p:cNvPr id="114" name="Group 113" hidden="1">
            <a:extLst>
              <a:ext uri="{FF2B5EF4-FFF2-40B4-BE49-F238E27FC236}">
                <a16:creationId xmlns:a16="http://schemas.microsoft.com/office/drawing/2014/main" id="{A709D695-914B-4705-8AC6-A94C2721C5E6}"/>
              </a:ext>
            </a:extLst>
          </p:cNvPr>
          <p:cNvGrpSpPr/>
          <p:nvPr userDrawn="1"/>
        </p:nvGrpSpPr>
        <p:grpSpPr>
          <a:xfrm>
            <a:off x="500062" y="501647"/>
            <a:ext cx="11194852" cy="5862641"/>
            <a:chOff x="500062" y="501647"/>
            <a:chExt cx="11194852" cy="5862641"/>
          </a:xfrm>
        </p:grpSpPr>
        <p:sp>
          <p:nvSpPr>
            <p:cNvPr id="115" name="Rectangle 114">
              <a:extLst>
                <a:ext uri="{FF2B5EF4-FFF2-40B4-BE49-F238E27FC236}">
                  <a16:creationId xmlns:a16="http://schemas.microsoft.com/office/drawing/2014/main" id="{D94117C3-ACEB-4551-92D6-E8776CE33870}"/>
                </a:ext>
              </a:extLst>
            </p:cNvPr>
            <p:cNvSpPr/>
            <p:nvPr/>
          </p:nvSpPr>
          <p:spPr>
            <a:xfrm>
              <a:off x="50462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6" name="Rectangle 115">
              <a:extLst>
                <a:ext uri="{FF2B5EF4-FFF2-40B4-BE49-F238E27FC236}">
                  <a16:creationId xmlns:a16="http://schemas.microsoft.com/office/drawing/2014/main" id="{DB4EA52B-9F03-4154-94D6-DCF629E0A517}"/>
                </a:ext>
              </a:extLst>
            </p:cNvPr>
            <p:cNvSpPr/>
            <p:nvPr/>
          </p:nvSpPr>
          <p:spPr>
            <a:xfrm>
              <a:off x="1456839"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7" name="Rectangle 116">
              <a:extLst>
                <a:ext uri="{FF2B5EF4-FFF2-40B4-BE49-F238E27FC236}">
                  <a16:creationId xmlns:a16="http://schemas.microsoft.com/office/drawing/2014/main" id="{ADABCB14-BA75-4B31-8404-F842D634C5FA}"/>
                </a:ext>
              </a:extLst>
            </p:cNvPr>
            <p:cNvSpPr/>
            <p:nvPr/>
          </p:nvSpPr>
          <p:spPr>
            <a:xfrm>
              <a:off x="8122316"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8" name="Rectangle 117">
              <a:extLst>
                <a:ext uri="{FF2B5EF4-FFF2-40B4-BE49-F238E27FC236}">
                  <a16:creationId xmlns:a16="http://schemas.microsoft.com/office/drawing/2014/main" id="{222E1F28-617C-42B1-A6FF-BB511F216035}"/>
                </a:ext>
              </a:extLst>
            </p:cNvPr>
            <p:cNvSpPr/>
            <p:nvPr/>
          </p:nvSpPr>
          <p:spPr>
            <a:xfrm>
              <a:off x="9074527"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19" name="Rectangle 118">
              <a:extLst>
                <a:ext uri="{FF2B5EF4-FFF2-40B4-BE49-F238E27FC236}">
                  <a16:creationId xmlns:a16="http://schemas.microsoft.com/office/drawing/2014/main" id="{E69EDA3C-B72E-4595-A9E9-C52463512844}"/>
                </a:ext>
              </a:extLst>
            </p:cNvPr>
            <p:cNvSpPr/>
            <p:nvPr/>
          </p:nvSpPr>
          <p:spPr>
            <a:xfrm>
              <a:off x="1002673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0" name="Rectangle 119">
              <a:extLst>
                <a:ext uri="{FF2B5EF4-FFF2-40B4-BE49-F238E27FC236}">
                  <a16:creationId xmlns:a16="http://schemas.microsoft.com/office/drawing/2014/main" id="{289C1C4C-D89D-4FF0-935C-26D17097F22D}"/>
                </a:ext>
              </a:extLst>
            </p:cNvPr>
            <p:cNvSpPr/>
            <p:nvPr/>
          </p:nvSpPr>
          <p:spPr>
            <a:xfrm>
              <a:off x="109789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1" name="Rectangle 120">
              <a:extLst>
                <a:ext uri="{FF2B5EF4-FFF2-40B4-BE49-F238E27FC236}">
                  <a16:creationId xmlns:a16="http://schemas.microsoft.com/office/drawing/2014/main" id="{A520FBBD-719C-461F-A18E-15DEEF9344D5}"/>
                </a:ext>
              </a:extLst>
            </p:cNvPr>
            <p:cNvSpPr/>
            <p:nvPr/>
          </p:nvSpPr>
          <p:spPr>
            <a:xfrm>
              <a:off x="7170105"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2" name="Rectangle 121">
              <a:extLst>
                <a:ext uri="{FF2B5EF4-FFF2-40B4-BE49-F238E27FC236}">
                  <a16:creationId xmlns:a16="http://schemas.microsoft.com/office/drawing/2014/main" id="{B8152350-997B-4F9F-AF5B-0640D5A22D60}"/>
                </a:ext>
              </a:extLst>
            </p:cNvPr>
            <p:cNvSpPr/>
            <p:nvPr/>
          </p:nvSpPr>
          <p:spPr>
            <a:xfrm>
              <a:off x="6217894"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3" name="Rectangle 122">
              <a:extLst>
                <a:ext uri="{FF2B5EF4-FFF2-40B4-BE49-F238E27FC236}">
                  <a16:creationId xmlns:a16="http://schemas.microsoft.com/office/drawing/2014/main" id="{CE7E2C06-3591-4F16-A6C9-26D03AFE7A9F}"/>
                </a:ext>
              </a:extLst>
            </p:cNvPr>
            <p:cNvSpPr/>
            <p:nvPr/>
          </p:nvSpPr>
          <p:spPr>
            <a:xfrm>
              <a:off x="5265683"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4" name="Rectangle 123">
              <a:extLst>
                <a:ext uri="{FF2B5EF4-FFF2-40B4-BE49-F238E27FC236}">
                  <a16:creationId xmlns:a16="http://schemas.microsoft.com/office/drawing/2014/main" id="{4D92D19D-15E4-4E02-9555-F731FC602CCC}"/>
                </a:ext>
              </a:extLst>
            </p:cNvPr>
            <p:cNvSpPr/>
            <p:nvPr/>
          </p:nvSpPr>
          <p:spPr>
            <a:xfrm>
              <a:off x="4313472"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5" name="Rectangle 124">
              <a:extLst>
                <a:ext uri="{FF2B5EF4-FFF2-40B4-BE49-F238E27FC236}">
                  <a16:creationId xmlns:a16="http://schemas.microsoft.com/office/drawing/2014/main" id="{8A5793D9-80BF-4104-A4AB-DD353A2513BA}"/>
                </a:ext>
              </a:extLst>
            </p:cNvPr>
            <p:cNvSpPr/>
            <p:nvPr/>
          </p:nvSpPr>
          <p:spPr>
            <a:xfrm>
              <a:off x="3361261"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6" name="Rectangle 125">
              <a:extLst>
                <a:ext uri="{FF2B5EF4-FFF2-40B4-BE49-F238E27FC236}">
                  <a16:creationId xmlns:a16="http://schemas.microsoft.com/office/drawing/2014/main" id="{9298F0B0-8A2D-4275-9CBC-81577EF8011C}"/>
                </a:ext>
              </a:extLst>
            </p:cNvPr>
            <p:cNvSpPr/>
            <p:nvPr/>
          </p:nvSpPr>
          <p:spPr>
            <a:xfrm>
              <a:off x="24090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7" name="Rectangle 126">
              <a:extLst>
                <a:ext uri="{FF2B5EF4-FFF2-40B4-BE49-F238E27FC236}">
                  <a16:creationId xmlns:a16="http://schemas.microsoft.com/office/drawing/2014/main" id="{C6FF5141-D9A4-40D9-AE0A-9FAA2ECE1656}"/>
                </a:ext>
              </a:extLst>
            </p:cNvPr>
            <p:cNvSpPr/>
            <p:nvPr/>
          </p:nvSpPr>
          <p:spPr>
            <a:xfrm>
              <a:off x="500062" y="194373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8" name="Rectangle 127">
              <a:extLst>
                <a:ext uri="{FF2B5EF4-FFF2-40B4-BE49-F238E27FC236}">
                  <a16:creationId xmlns:a16="http://schemas.microsoft.com/office/drawing/2014/main" id="{F254B338-3EBA-4D36-86E8-9C09EF7C02B8}"/>
                </a:ext>
              </a:extLst>
            </p:cNvPr>
            <p:cNvSpPr/>
            <p:nvPr/>
          </p:nvSpPr>
          <p:spPr>
            <a:xfrm>
              <a:off x="500062" y="273316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29" name="Rectangle 128">
              <a:extLst>
                <a:ext uri="{FF2B5EF4-FFF2-40B4-BE49-F238E27FC236}">
                  <a16:creationId xmlns:a16="http://schemas.microsoft.com/office/drawing/2014/main" id="{FE8AE6C3-0AFF-40F6-88C7-3A7C8A014488}"/>
                </a:ext>
              </a:extLst>
            </p:cNvPr>
            <p:cNvSpPr/>
            <p:nvPr/>
          </p:nvSpPr>
          <p:spPr>
            <a:xfrm>
              <a:off x="500062" y="352259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0" name="Rectangle 129">
              <a:extLst>
                <a:ext uri="{FF2B5EF4-FFF2-40B4-BE49-F238E27FC236}">
                  <a16:creationId xmlns:a16="http://schemas.microsoft.com/office/drawing/2014/main" id="{53E9EF65-B326-497A-9EE0-EFC57318F203}"/>
                </a:ext>
              </a:extLst>
            </p:cNvPr>
            <p:cNvSpPr/>
            <p:nvPr/>
          </p:nvSpPr>
          <p:spPr>
            <a:xfrm>
              <a:off x="500062" y="4309364"/>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1" name="Rectangle 130">
              <a:extLst>
                <a:ext uri="{FF2B5EF4-FFF2-40B4-BE49-F238E27FC236}">
                  <a16:creationId xmlns:a16="http://schemas.microsoft.com/office/drawing/2014/main" id="{BA518688-2A30-4B00-97FA-A9EA1D196D35}"/>
                </a:ext>
              </a:extLst>
            </p:cNvPr>
            <p:cNvSpPr/>
            <p:nvPr/>
          </p:nvSpPr>
          <p:spPr>
            <a:xfrm>
              <a:off x="500062" y="5084795"/>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sp>
          <p:nvSpPr>
            <p:cNvPr id="132" name="Rectangle 131">
              <a:extLst>
                <a:ext uri="{FF2B5EF4-FFF2-40B4-BE49-F238E27FC236}">
                  <a16:creationId xmlns:a16="http://schemas.microsoft.com/office/drawing/2014/main" id="{1F693842-B64A-4087-9E5F-5199914B2E05}"/>
                </a:ext>
              </a:extLst>
            </p:cNvPr>
            <p:cNvSpPr/>
            <p:nvPr/>
          </p:nvSpPr>
          <p:spPr>
            <a:xfrm>
              <a:off x="500063" y="501647"/>
              <a:ext cx="11190287" cy="93097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err="1"/>
            </a:p>
          </p:txBody>
        </p:sp>
      </p:grpSp>
      <p:sp>
        <p:nvSpPr>
          <p:cNvPr id="5" name="TextBox 4">
            <a:extLst>
              <a:ext uri="{FF2B5EF4-FFF2-40B4-BE49-F238E27FC236}">
                <a16:creationId xmlns:a16="http://schemas.microsoft.com/office/drawing/2014/main" id="{3572D74A-7938-1646-84EC-EA01E1E70391}"/>
              </a:ext>
            </a:extLst>
          </p:cNvPr>
          <p:cNvSpPr txBox="1"/>
          <p:nvPr>
            <p:extLst>
              <p:ext uri="{1162E1C5-73C7-4A58-AE30-91384D911F3F}">
                <p184:classification xmlns:p184="http://schemas.microsoft.com/office/powerpoint/2018/4/main" val="ftr"/>
              </p:ext>
            </p:extLst>
          </p:nvPr>
        </p:nvSpPr>
        <p:spPr>
          <a:xfrm>
            <a:off x="190500" y="6515100"/>
            <a:ext cx="11652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lassification: Internal</a:t>
            </a:r>
          </a:p>
        </p:txBody>
      </p:sp>
      <p:pic>
        <p:nvPicPr>
          <p:cNvPr id="8" name="Picture 29">
            <a:extLst>
              <a:ext uri="{FF2B5EF4-FFF2-40B4-BE49-F238E27FC236}">
                <a16:creationId xmlns:a16="http://schemas.microsoft.com/office/drawing/2014/main" id="{EB0A6C97-0A67-2608-ED3D-E07850A65ABC}"/>
              </a:ext>
            </a:extLst>
          </p:cNvPr>
          <p:cNvPicPr>
            <a:picLocks noChangeAspect="1"/>
          </p:cNvPicPr>
          <p:nvPr userDrawn="1"/>
        </p:nvPicPr>
        <p:blipFill>
          <a:blip r:embed="rId43">
            <a:extLst>
              <a:ext uri="{96DAC541-7B7A-43D3-8B79-37D633B846F1}">
                <asvg:svgBlip xmlns:asvg="http://schemas.microsoft.com/office/drawing/2016/SVG/main" r:embed="rId44"/>
              </a:ext>
            </a:extLst>
          </a:blip>
          <a:srcRect/>
          <a:stretch/>
        </p:blipFill>
        <p:spPr>
          <a:xfrm>
            <a:off x="371475" y="6169025"/>
            <a:ext cx="1299398" cy="320399"/>
          </a:xfrm>
          <a:prstGeom prst="rect">
            <a:avLst/>
          </a:prstGeom>
        </p:spPr>
      </p:pic>
      <p:sp>
        <p:nvSpPr>
          <p:cNvPr id="9" name="Footer Placeholder 7">
            <a:extLst>
              <a:ext uri="{FF2B5EF4-FFF2-40B4-BE49-F238E27FC236}">
                <a16:creationId xmlns:a16="http://schemas.microsoft.com/office/drawing/2014/main" id="{B064AFF6-77E1-40D5-A21D-E890E8D4D99A}"/>
              </a:ext>
            </a:extLst>
          </p:cNvPr>
          <p:cNvSpPr txBox="1">
            <a:spLocks/>
          </p:cNvSpPr>
          <p:nvPr userDrawn="1"/>
        </p:nvSpPr>
        <p:spPr>
          <a:xfrm>
            <a:off x="7563606" y="6404481"/>
            <a:ext cx="3285369" cy="185427"/>
          </a:xfrm>
          <a:prstGeom prst="rect">
            <a:avLst/>
          </a:prstGeom>
        </p:spPr>
        <p:txBody>
          <a:bodyPr vert="horz" wrap="none" lIns="0" tIns="0" rIns="0" bIns="0" rtlCol="0" anchor="t"/>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One standard way of working</a:t>
            </a:r>
          </a:p>
        </p:txBody>
      </p:sp>
      <p:sp>
        <p:nvSpPr>
          <p:cNvPr id="10" name="Slide Number Placeholder 8">
            <a:extLst>
              <a:ext uri="{FF2B5EF4-FFF2-40B4-BE49-F238E27FC236}">
                <a16:creationId xmlns:a16="http://schemas.microsoft.com/office/drawing/2014/main" id="{B2665827-5711-0244-D385-B320662775C3}"/>
              </a:ext>
            </a:extLst>
          </p:cNvPr>
          <p:cNvSpPr txBox="1">
            <a:spLocks/>
          </p:cNvSpPr>
          <p:nvPr userDrawn="1"/>
        </p:nvSpPr>
        <p:spPr>
          <a:xfrm>
            <a:off x="11408486" y="6404482"/>
            <a:ext cx="412039" cy="185426"/>
          </a:xfrm>
          <a:prstGeom prst="rect">
            <a:avLst/>
          </a:prstGeom>
        </p:spPr>
        <p:txBody>
          <a:bodyPr vert="horz" wrap="none" lIns="0" tIns="0" rIns="0" bIns="0" rtlCol="0" anchor="t"/>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3A204BC-C5BA-4EF4-ABC8-D45123A0C528}" type="slidenum">
              <a:rPr lang="en-GB" smtClean="0"/>
              <a:pPr/>
              <a:t>‹#›</a:t>
            </a:fld>
            <a:endParaRPr lang="en-GB"/>
          </a:p>
        </p:txBody>
      </p:sp>
    </p:spTree>
    <p:extLst>
      <p:ext uri="{BB962C8B-B14F-4D97-AF65-F5344CB8AC3E}">
        <p14:creationId xmlns:p14="http://schemas.microsoft.com/office/powerpoint/2010/main" val="291429283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Lst>
  <p:hf hdr="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2">
          <p15:clr>
            <a:srgbClr val="F26B43"/>
          </p15:clr>
        </p15:guide>
        <p15:guide id="4" orient="horz" pos="4088">
          <p15:clr>
            <a:srgbClr val="F26B43"/>
          </p15:clr>
        </p15:guide>
        <p15:guide id="9" pos="6357">
          <p15:clr>
            <a:srgbClr val="F26B43"/>
          </p15:clr>
        </p15:guide>
        <p15:guide id="10" pos="6834">
          <p15:clr>
            <a:srgbClr val="F26B43"/>
          </p15:clr>
        </p15:guide>
        <p15:guide id="11" pos="6970">
          <p15:clr>
            <a:srgbClr val="F26B43"/>
          </p15:clr>
        </p15:guide>
        <p15:guide id="12" pos="7446">
          <p15:clr>
            <a:srgbClr val="F26B43"/>
          </p15:clr>
        </p15:guide>
        <p15:guide id="15" pos="5745">
          <p15:clr>
            <a:srgbClr val="F26B43"/>
          </p15:clr>
        </p15:guide>
        <p15:guide id="16" pos="6221">
          <p15:clr>
            <a:srgbClr val="F26B43"/>
          </p15:clr>
        </p15:guide>
        <p15:guide id="17" pos="5133">
          <p15:clr>
            <a:srgbClr val="F26B43"/>
          </p15:clr>
        </p15:guide>
        <p15:guide id="18" pos="5609">
          <p15:clr>
            <a:srgbClr val="F26B43"/>
          </p15:clr>
        </p15:guide>
        <p15:guide id="19" pos="2071">
          <p15:clr>
            <a:srgbClr val="F26B43"/>
          </p15:clr>
        </p15:guide>
        <p15:guide id="20" pos="2547">
          <p15:clr>
            <a:srgbClr val="F26B43"/>
          </p15:clr>
        </p15:guide>
        <p15:guide id="21" pos="1459">
          <p15:clr>
            <a:srgbClr val="F26B43"/>
          </p15:clr>
        </p15:guide>
        <p15:guide id="22" pos="1935">
          <p15:clr>
            <a:srgbClr val="F26B43"/>
          </p15:clr>
        </p15:guide>
        <p15:guide id="23" pos="846">
          <p15:clr>
            <a:srgbClr val="F26B43"/>
          </p15:clr>
        </p15:guide>
        <p15:guide id="24" pos="1323">
          <p15:clr>
            <a:srgbClr val="F26B43"/>
          </p15:clr>
        </p15:guide>
        <p15:guide id="25" pos="234">
          <p15:clr>
            <a:srgbClr val="F26B43"/>
          </p15:clr>
        </p15:guide>
        <p15:guide id="26" pos="710">
          <p15:clr>
            <a:srgbClr val="F26B43"/>
          </p15:clr>
        </p15:guide>
        <p15:guide id="42" orient="horz" pos="2160">
          <p15:clr>
            <a:srgbClr val="000000"/>
          </p15:clr>
        </p15:guide>
        <p15:guide id="43" pos="3840">
          <p15:clr>
            <a:srgbClr val="000000"/>
          </p15:clr>
        </p15:guide>
        <p15:guide id="44" pos="2683">
          <p15:clr>
            <a:srgbClr val="F26B43"/>
          </p15:clr>
        </p15:guide>
        <p15:guide id="45" pos="4520">
          <p15:clr>
            <a:srgbClr val="F26B43"/>
          </p15:clr>
        </p15:guide>
        <p15:guide id="46" pos="3296">
          <p15:clr>
            <a:srgbClr val="F26B43"/>
          </p15:clr>
        </p15:guide>
        <p15:guide id="47" pos="4384">
          <p15:clr>
            <a:srgbClr val="F26B43"/>
          </p15:clr>
        </p15:guide>
        <p15:guide id="48" pos="3160">
          <p15:clr>
            <a:srgbClr val="F26B43"/>
          </p15:clr>
        </p15:guide>
        <p15:guide id="49" pos="3772">
          <p15:clr>
            <a:srgbClr val="F26B43"/>
          </p15:clr>
        </p15:guide>
        <p15:guide id="50" pos="3908">
          <p15:clr>
            <a:srgbClr val="F26B43"/>
          </p15:clr>
        </p15:guide>
        <p15:guide id="51" orient="horz" pos="3884">
          <p15:clr>
            <a:srgbClr val="F26B43"/>
          </p15:clr>
        </p15:guide>
        <p15:guide id="52" pos="49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11.svg"/></Relationships>
</file>

<file path=ppt/slides/_rels/slide2.xml.rels><?xml version="1.0" encoding="UTF-8" standalone="yes"?>
<Relationships xmlns="http://schemas.openxmlformats.org/package/2006/relationships"><Relationship Id="rId3" Type="http://schemas.openxmlformats.org/officeDocument/2006/relationships/hyperlink" Target="https://app.powerbi.com/groups/me/apps/59dcbaec-79ee-4d1b-9399-2739f84b2668/reports/eccd1e34-caa0-41a5-a8d5-43c67af68e0d/423b0b36978ce4464c65?ctid=05d75c05-fa1a-42e7-9cf1-eb416c396f2d&amp;experience=power-bi" TargetMode="External"/><Relationship Id="rId2" Type="http://schemas.openxmlformats.org/officeDocument/2006/relationships/hyperlink" Target="Pulse%20Monitor%20-%20Area%20Pulse%20Monitor%20Dashboard%20-%20Power%20BI" TargetMode="External"/><Relationship Id="rId1" Type="http://schemas.openxmlformats.org/officeDocument/2006/relationships/slideLayout" Target="../slideLayouts/slideLayout90.xml"/><Relationship Id="rId5" Type="http://schemas.openxmlformats.org/officeDocument/2006/relationships/hyperlink" Target="https://alp.maersk-digital.net/cargox/shipment/detailRoute?type=shipmentList" TargetMode="External"/><Relationship Id="rId4" Type="http://schemas.openxmlformats.org/officeDocument/2006/relationships/hyperlink" Target="https://app.powerbi.com/groups/me/reports/00c58995-36be-4777-9a2d-a9a620f82676/cd4104f0fd28774ae5c6?experience=power-b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4.xml"/><Relationship Id="rId5" Type="http://schemas.openxmlformats.org/officeDocument/2006/relationships/image" Target="../media/image28.svg"/><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chart" Target="../charts/chart2.xml"/><Relationship Id="rId7" Type="http://schemas.openxmlformats.org/officeDocument/2006/relationships/chart" Target="../charts/chart6.xml"/><Relationship Id="rId12" Type="http://schemas.microsoft.com/office/2007/relationships/hdphoto" Target="../media/hdphoto1.wdp"/><Relationship Id="rId2" Type="http://schemas.openxmlformats.org/officeDocument/2006/relationships/chart" Target="../charts/chart1.xml"/><Relationship Id="rId1" Type="http://schemas.openxmlformats.org/officeDocument/2006/relationships/slideLayout" Target="../slideLayouts/slideLayout37.xml"/><Relationship Id="rId6" Type="http://schemas.openxmlformats.org/officeDocument/2006/relationships/chart" Target="../charts/chart5.xml"/><Relationship Id="rId11" Type="http://schemas.openxmlformats.org/officeDocument/2006/relationships/image" Target="../media/image29.png"/><Relationship Id="rId5" Type="http://schemas.openxmlformats.org/officeDocument/2006/relationships/chart" Target="../charts/chart4.xml"/><Relationship Id="rId10" Type="http://schemas.openxmlformats.org/officeDocument/2006/relationships/chart" Target="../charts/chart9.xml"/><Relationship Id="rId4" Type="http://schemas.openxmlformats.org/officeDocument/2006/relationships/chart" Target="../charts/chart3.xml"/><Relationship Id="rId9"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33.png"/><Relationship Id="rId3" Type="http://schemas.openxmlformats.org/officeDocument/2006/relationships/tags" Target="../tags/tag3.xml"/><Relationship Id="rId21" Type="http://schemas.openxmlformats.org/officeDocument/2006/relationships/image" Target="../media/image36.png"/><Relationship Id="rId7" Type="http://schemas.openxmlformats.org/officeDocument/2006/relationships/tags" Target="../tags/tag7.xml"/><Relationship Id="rId12" Type="http://schemas.openxmlformats.org/officeDocument/2006/relationships/notesSlide" Target="../notesSlides/notesSlide1.xml"/><Relationship Id="rId17" Type="http://schemas.microsoft.com/office/2007/relationships/hdphoto" Target="../media/hdphoto2.wdp"/><Relationship Id="rId2" Type="http://schemas.openxmlformats.org/officeDocument/2006/relationships/tags" Target="../tags/tag2.xml"/><Relationship Id="rId16" Type="http://schemas.openxmlformats.org/officeDocument/2006/relationships/image" Target="../media/image32.jpeg"/><Relationship Id="rId20" Type="http://schemas.openxmlformats.org/officeDocument/2006/relationships/image" Target="../media/image3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37.xml"/><Relationship Id="rId5" Type="http://schemas.openxmlformats.org/officeDocument/2006/relationships/tags" Target="../tags/tag5.xml"/><Relationship Id="rId15" Type="http://schemas.openxmlformats.org/officeDocument/2006/relationships/image" Target="../media/image31.png"/><Relationship Id="rId10" Type="http://schemas.openxmlformats.org/officeDocument/2006/relationships/tags" Target="../tags/tag10.xml"/><Relationship Id="rId19" Type="http://schemas.openxmlformats.org/officeDocument/2006/relationships/image" Target="../media/image3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30.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11.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924AEE04-A6B9-5876-275E-8435E6AB15C1}"/>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6707" r="6707"/>
          <a:stretch/>
        </p:blipFill>
        <p:spPr>
          <a:xfrm>
            <a:off x="0" y="-3600"/>
            <a:ext cx="8911685" cy="6861600"/>
          </a:xfrm>
        </p:spPr>
      </p:pic>
      <p:grpSp>
        <p:nvGrpSpPr>
          <p:cNvPr id="9" name="Group 8">
            <a:extLst>
              <a:ext uri="{FF2B5EF4-FFF2-40B4-BE49-F238E27FC236}">
                <a16:creationId xmlns:a16="http://schemas.microsoft.com/office/drawing/2014/main" id="{39701E35-D91B-3E79-CFAF-2ED367BF17F0}"/>
              </a:ext>
            </a:extLst>
          </p:cNvPr>
          <p:cNvGrpSpPr/>
          <p:nvPr/>
        </p:nvGrpSpPr>
        <p:grpSpPr>
          <a:xfrm>
            <a:off x="-8205" y="5221224"/>
            <a:ext cx="8018350" cy="1438322"/>
            <a:chOff x="-8205" y="5248656"/>
            <a:chExt cx="8018350" cy="1438322"/>
          </a:xfrm>
        </p:grpSpPr>
        <p:sp>
          <p:nvSpPr>
            <p:cNvPr id="7" name="Rectangle 6">
              <a:extLst>
                <a:ext uri="{FF2B5EF4-FFF2-40B4-BE49-F238E27FC236}">
                  <a16:creationId xmlns:a16="http://schemas.microsoft.com/office/drawing/2014/main" id="{25B57975-268F-FCB4-1128-8C204367CD94}"/>
                </a:ext>
              </a:extLst>
            </p:cNvPr>
            <p:cNvSpPr/>
            <p:nvPr/>
          </p:nvSpPr>
          <p:spPr>
            <a:xfrm rot="5400000">
              <a:off x="3021204" y="2219247"/>
              <a:ext cx="1438322" cy="7497139"/>
            </a:xfrm>
            <a:prstGeom prst="rect">
              <a:avLst/>
            </a:prstGeom>
            <a:gradFill>
              <a:gsLst>
                <a:gs pos="51000">
                  <a:schemeClr val="accent2"/>
                </a:gs>
                <a:gs pos="0">
                  <a:schemeClr val="accent1">
                    <a:lumMod val="0"/>
                    <a:alpha val="0"/>
                  </a:schemeClr>
                </a:gs>
                <a:gs pos="24000">
                  <a:schemeClr val="accent2">
                    <a:alpha val="70004"/>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Maersk Text"/>
                <a:ea typeface="+mn-ea"/>
                <a:cs typeface="+mn-cs"/>
              </a:endParaRPr>
            </a:p>
          </p:txBody>
        </p:sp>
        <p:sp>
          <p:nvSpPr>
            <p:cNvPr id="12" name="Title 11">
              <a:extLst>
                <a:ext uri="{FF2B5EF4-FFF2-40B4-BE49-F238E27FC236}">
                  <a16:creationId xmlns:a16="http://schemas.microsoft.com/office/drawing/2014/main" id="{C5157C39-5D6E-DB01-058C-122ACC1BEA38}"/>
                </a:ext>
              </a:extLst>
            </p:cNvPr>
            <p:cNvSpPr txBox="1">
              <a:spLocks/>
            </p:cNvSpPr>
            <p:nvPr/>
          </p:nvSpPr>
          <p:spPr>
            <a:xfrm>
              <a:off x="254355" y="5317237"/>
              <a:ext cx="7755790" cy="836676"/>
            </a:xfrm>
            <a:prstGeom prst="rect">
              <a:avLst/>
            </a:prstGeom>
          </p:spPr>
          <p:txBody>
            <a:bodyPr vert="horz" lIns="0" tIns="0" rIns="0" bIns="0" rtlCol="0" anchor="t" anchorCtr="0">
              <a:noAutofit/>
            </a:bodyPr>
            <a:lstStyle>
              <a:lvl1pPr algn="l" defTabSz="914400" rtl="0" eaLnBrk="1" latinLnBrk="0" hangingPunct="1">
                <a:lnSpc>
                  <a:spcPts val="58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ts val="58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Maersk Headline Light"/>
                  <a:ea typeface="+mj-ea"/>
                  <a:cs typeface="+mj-cs"/>
                </a:rPr>
                <a:t>Operational Excellence</a:t>
              </a:r>
              <a:endParaRPr kumimoji="0" lang="en-001" sz="4400" b="1" i="0" u="none" strike="noStrike" kern="1200" cap="none" spc="0" normalizeH="0" baseline="0" noProof="0" dirty="0">
                <a:ln>
                  <a:noFill/>
                </a:ln>
                <a:solidFill>
                  <a:srgbClr val="FFFFFF"/>
                </a:solidFill>
                <a:effectLst/>
                <a:uLnTx/>
                <a:uFillTx/>
                <a:latin typeface="Maersk Headline Light"/>
                <a:ea typeface="+mj-ea"/>
                <a:cs typeface="+mj-cs"/>
              </a:endParaRPr>
            </a:p>
          </p:txBody>
        </p:sp>
        <p:sp>
          <p:nvSpPr>
            <p:cNvPr id="4" name="TextBox 3">
              <a:extLst>
                <a:ext uri="{FF2B5EF4-FFF2-40B4-BE49-F238E27FC236}">
                  <a16:creationId xmlns:a16="http://schemas.microsoft.com/office/drawing/2014/main" id="{8BE88DBE-0801-A288-2328-358FB47F80EC}"/>
                </a:ext>
              </a:extLst>
            </p:cNvPr>
            <p:cNvSpPr txBox="1"/>
            <p:nvPr/>
          </p:nvSpPr>
          <p:spPr>
            <a:xfrm>
              <a:off x="254355" y="6040647"/>
              <a:ext cx="61041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solidFill>
                    <a:srgbClr val="FFFFFF"/>
                  </a:solidFill>
                  <a:latin typeface="Maersk Headline Light"/>
                </a:rPr>
                <a:t>One</a:t>
              </a:r>
              <a:r>
                <a:rPr kumimoji="0" lang="en-US" sz="1800" b="0" i="1" u="none" strike="noStrike" kern="1200" cap="none" spc="0" normalizeH="0" baseline="0" noProof="0" dirty="0">
                  <a:ln>
                    <a:noFill/>
                  </a:ln>
                  <a:solidFill>
                    <a:srgbClr val="FFFFFF"/>
                  </a:solidFill>
                  <a:effectLst/>
                  <a:uLnTx/>
                  <a:uFillTx/>
                  <a:latin typeface="Maersk Headline Light"/>
                  <a:ea typeface="+mn-ea"/>
                  <a:cs typeface="+mn-cs"/>
                </a:rPr>
                <a:t> standard way of working for Air and LCL Business</a:t>
              </a:r>
              <a:endParaRPr kumimoji="0" lang="en-US" sz="1800" b="0" i="0" u="none" strike="noStrike" kern="1200" cap="none" spc="0" normalizeH="0" baseline="0" noProof="0" dirty="0">
                <a:ln>
                  <a:noFill/>
                </a:ln>
                <a:solidFill>
                  <a:srgbClr val="FFFFFF"/>
                </a:solidFill>
                <a:effectLst/>
                <a:uLnTx/>
                <a:uFillTx/>
                <a:latin typeface="Maersk Headline Light"/>
                <a:ea typeface="+mn-ea"/>
                <a:cs typeface="+mn-cs"/>
              </a:endParaRPr>
            </a:p>
          </p:txBody>
        </p:sp>
      </p:grpSp>
      <p:pic>
        <p:nvPicPr>
          <p:cNvPr id="8" name="Picture 29">
            <a:extLst>
              <a:ext uri="{FF2B5EF4-FFF2-40B4-BE49-F238E27FC236}">
                <a16:creationId xmlns:a16="http://schemas.microsoft.com/office/drawing/2014/main" id="{EA116EE6-C041-3809-F8B7-C9D2D773E0A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812347" y="5790844"/>
            <a:ext cx="1744276" cy="430096"/>
          </a:xfrm>
          <a:prstGeom prst="rect">
            <a:avLst/>
          </a:prstGeom>
        </p:spPr>
      </p:pic>
    </p:spTree>
    <p:extLst>
      <p:ext uri="{BB962C8B-B14F-4D97-AF65-F5344CB8AC3E}">
        <p14:creationId xmlns:p14="http://schemas.microsoft.com/office/powerpoint/2010/main" val="2534216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D939F-535D-A269-0D3B-6F816A144D8B}"/>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6B8471A4-D425-3C6A-D1EE-F507BE03EA19}"/>
              </a:ext>
            </a:extLst>
          </p:cNvPr>
          <p:cNvSpPr/>
          <p:nvPr/>
        </p:nvSpPr>
        <p:spPr>
          <a:xfrm>
            <a:off x="4337497" y="1421994"/>
            <a:ext cx="7314818" cy="4235853"/>
          </a:xfrm>
          <a:prstGeom prst="roundRect">
            <a:avLst>
              <a:gd name="adj" fmla="val 262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237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Maersk Headline Light"/>
                <a:ea typeface="+mn-ea"/>
                <a:cs typeface="+mn-cs"/>
              </a:rPr>
              <a:t>Desired St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696969">
                  <a:lumMod val="75000"/>
                </a:srgbClr>
              </a:solidFill>
              <a:latin typeface="Maersk Headline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696969">
                  <a:lumMod val="75000"/>
                </a:srgbClr>
              </a:solidFill>
              <a:effectLst/>
              <a:uLnTx/>
              <a:uFillTx/>
              <a:latin typeface="Maersk Headline Light"/>
              <a:ea typeface="+mn-ea"/>
              <a:cs typeface="+mn-cs"/>
            </a:endParaRPr>
          </a:p>
        </p:txBody>
      </p:sp>
      <p:sp>
        <p:nvSpPr>
          <p:cNvPr id="31" name="Rectangle: Rounded Corners 30">
            <a:extLst>
              <a:ext uri="{FF2B5EF4-FFF2-40B4-BE49-F238E27FC236}">
                <a16:creationId xmlns:a16="http://schemas.microsoft.com/office/drawing/2014/main" id="{CC315D20-2DC3-FD3B-8546-9BDC8383FD67}"/>
              </a:ext>
            </a:extLst>
          </p:cNvPr>
          <p:cNvSpPr/>
          <p:nvPr/>
        </p:nvSpPr>
        <p:spPr>
          <a:xfrm>
            <a:off x="454241" y="1421996"/>
            <a:ext cx="3742855" cy="4235854"/>
          </a:xfrm>
          <a:prstGeom prst="roundRect">
            <a:avLst>
              <a:gd name="adj" fmla="val 262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237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Maersk Headline Light"/>
                <a:ea typeface="+mn-ea"/>
                <a:cs typeface="+mn-cs"/>
              </a:rPr>
              <a:t>Current Issues (As-I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Maersk Headline Ligh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mj-lt"/>
                <a:ea typeface="+mn-ea"/>
                <a:cs typeface="+mn-cs"/>
              </a:rPr>
              <a:t>1. Multiple sources of information (no single source of truth)</a:t>
            </a:r>
            <a:r>
              <a:rPr lang="en-GB" sz="1000" b="1" dirty="0">
                <a:solidFill>
                  <a:srgbClr val="FFFFFF"/>
                </a:solidFill>
                <a:latin typeface="+mj-lt"/>
              </a:rPr>
              <a:t>:</a:t>
            </a:r>
            <a:endParaRPr kumimoji="0" lang="en-GB" sz="1000" b="1" i="0" u="none" strike="noStrike" kern="1200" cap="none" spc="0" normalizeH="0" baseline="0" noProof="0" dirty="0">
              <a:ln>
                <a:noFill/>
              </a:ln>
              <a:solidFill>
                <a:srgbClr val="FFFFFF"/>
              </a:solidFill>
              <a:effectLst/>
              <a:uLnTx/>
              <a:uFillTx/>
              <a:latin typeface="+mj-lt"/>
              <a:ea typeface="+mn-ea"/>
              <a:cs typeface="+mn-cs"/>
            </a:endParaRPr>
          </a:p>
          <a:p>
            <a:pPr marL="171450" lvl="0" indent="-171450" fontAlgn="ctr">
              <a:buFont typeface="Arial" panose="020B0604020202020204" pitchFamily="34" charset="0"/>
              <a:buChar char="•"/>
              <a:defRPr/>
            </a:pPr>
            <a:r>
              <a:rPr lang="en-GB" sz="1000" b="1" dirty="0">
                <a:solidFill>
                  <a:schemeClr val="accent1"/>
                </a:solidFill>
                <a:latin typeface="+mj-lt"/>
                <a:hlinkClick r:id="rId2">
                  <a:extLst>
                    <a:ext uri="{A12FA001-AC4F-418D-AE19-62706E023703}">
                      <ahyp:hlinkClr xmlns:ahyp="http://schemas.microsoft.com/office/drawing/2018/hyperlinkcolor" val="tx"/>
                    </a:ext>
                  </a:extLst>
                </a:hlinkClick>
              </a:rPr>
              <a:t>Area Pulse Monitor</a:t>
            </a:r>
            <a:r>
              <a:rPr lang="en-GB" sz="1000" dirty="0">
                <a:solidFill>
                  <a:schemeClr val="accent1"/>
                </a:solidFill>
                <a:latin typeface="+mj-lt"/>
                <a:hlinkClick r:id="rId2">
                  <a:extLst>
                    <a:ext uri="{A12FA001-AC4F-418D-AE19-62706E023703}">
                      <ahyp:hlinkClr xmlns:ahyp="http://schemas.microsoft.com/office/drawing/2018/hyperlinkcolor" val="tx"/>
                    </a:ext>
                  </a:extLst>
                </a:hlinkClick>
              </a:rPr>
              <a:t> </a:t>
            </a:r>
            <a:r>
              <a:rPr lang="en-GB" sz="1000" dirty="0">
                <a:solidFill>
                  <a:schemeClr val="bg1"/>
                </a:solidFill>
                <a:latin typeface="+mj-lt"/>
              </a:rPr>
              <a:t>mostly used by FINOPS/BCOs – Source SAP</a:t>
            </a:r>
            <a:endParaRPr kumimoji="0" lang="en-GB" sz="1000" b="0" i="0" u="none" strike="noStrike" kern="1200" cap="none" spc="0" normalizeH="0" baseline="0" noProof="0" dirty="0">
              <a:ln>
                <a:noFill/>
              </a:ln>
              <a:solidFill>
                <a:schemeClr val="bg1"/>
              </a:solidFill>
              <a:effectLst/>
              <a:uLnTx/>
              <a:uFillTx/>
              <a:latin typeface="+mj-lt"/>
              <a:ea typeface="+mn-ea"/>
              <a:cs typeface="+mn-cs"/>
            </a:endParaRPr>
          </a:p>
          <a:p>
            <a:pPr marL="171450" lvl="0" indent="-171450" fontAlgn="ctr">
              <a:buFont typeface="Arial" panose="020B0604020202020204" pitchFamily="34" charset="0"/>
              <a:buChar char="•"/>
              <a:defRPr/>
            </a:pPr>
            <a:r>
              <a:rPr kumimoji="0" lang="en-GB" sz="1000" b="1" i="0" u="none" strike="noStrike" kern="1200" cap="none" spc="0" normalizeH="0" baseline="0" noProof="0" dirty="0">
                <a:ln>
                  <a:noFill/>
                </a:ln>
                <a:solidFill>
                  <a:schemeClr val="accent1"/>
                </a:solidFill>
                <a:effectLst/>
                <a:uLnTx/>
                <a:uFillTx/>
                <a:latin typeface="+mj-lt"/>
                <a:ea typeface="+mn-ea"/>
                <a:cs typeface="+mn-cs"/>
              </a:rPr>
              <a:t>Page 1 </a:t>
            </a:r>
            <a:r>
              <a:rPr lang="en-GB" sz="1000" dirty="0">
                <a:solidFill>
                  <a:schemeClr val="bg1"/>
                </a:solidFill>
                <a:latin typeface="+mj-lt"/>
                <a:hlinkClick r:id="rId3">
                  <a:extLst>
                    <a:ext uri="{A12FA001-AC4F-418D-AE19-62706E023703}">
                      <ahyp:hlinkClr xmlns:ahyp="http://schemas.microsoft.com/office/drawing/2018/hyperlinkcolor" val="tx"/>
                    </a:ext>
                  </a:extLst>
                </a:hlinkClick>
              </a:rPr>
              <a:t>LCL &amp; Air - Power BI</a:t>
            </a:r>
            <a:r>
              <a:rPr lang="en-GB" sz="1000" dirty="0">
                <a:solidFill>
                  <a:schemeClr val="bg1"/>
                </a:solidFill>
                <a:latin typeface="+mj-lt"/>
              </a:rPr>
              <a:t> used by OPS – Data from CW1/SAP/ALP and TMFF</a:t>
            </a:r>
            <a:endParaRPr kumimoji="0" lang="en-GB" sz="1000" b="0" i="0" u="none" strike="noStrike" kern="1200" cap="none" spc="0" normalizeH="0" baseline="0" noProof="0" dirty="0">
              <a:ln>
                <a:noFill/>
              </a:ln>
              <a:solidFill>
                <a:schemeClr val="bg1"/>
              </a:solidFill>
              <a:effectLst/>
              <a:uLnTx/>
              <a:uFillTx/>
              <a:latin typeface="+mj-lt"/>
              <a:ea typeface="+mn-ea"/>
              <a:cs typeface="+mn-cs"/>
            </a:endParaRPr>
          </a:p>
          <a:p>
            <a:pPr marL="171450" lvl="0" indent="-171450" fontAlgn="ctr">
              <a:buFont typeface="Arial" panose="020B0604020202020204" pitchFamily="34" charset="0"/>
              <a:buChar char="•"/>
              <a:defRPr/>
            </a:pPr>
            <a:r>
              <a:rPr lang="en-US" sz="1000" b="1" dirty="0">
                <a:solidFill>
                  <a:schemeClr val="accent1"/>
                </a:solidFill>
                <a:latin typeface="+mj-lt"/>
                <a:hlinkClick r:id="rId4">
                  <a:extLst>
                    <a:ext uri="{A12FA001-AC4F-418D-AE19-62706E023703}">
                      <ahyp:hlinkClr xmlns:ahyp="http://schemas.microsoft.com/office/drawing/2018/hyperlinkcolor" val="tx"/>
                    </a:ext>
                  </a:extLst>
                </a:hlinkClick>
              </a:rPr>
              <a:t>Air LCL cognitive hub - Power BI</a:t>
            </a:r>
            <a:r>
              <a:rPr lang="en-GB" sz="1000" b="1" dirty="0">
                <a:solidFill>
                  <a:schemeClr val="accent1"/>
                </a:solidFill>
                <a:latin typeface="+mj-lt"/>
              </a:rPr>
              <a:t> </a:t>
            </a:r>
            <a:r>
              <a:rPr lang="en-GB" sz="1000" dirty="0">
                <a:solidFill>
                  <a:schemeClr val="bg1"/>
                </a:solidFill>
                <a:latin typeface="+mj-lt"/>
              </a:rPr>
              <a:t>used for CW1 Adoption deep dive – Milestones dashboard</a:t>
            </a:r>
          </a:p>
          <a:p>
            <a:pPr marL="171450" lvl="0" indent="-171450" fontAlgn="ctr">
              <a:buFont typeface="Arial" panose="020B0604020202020204" pitchFamily="34" charset="0"/>
              <a:buChar char="•"/>
              <a:defRPr/>
            </a:pPr>
            <a:r>
              <a:rPr lang="en-GB" sz="1000" b="1" dirty="0">
                <a:solidFill>
                  <a:schemeClr val="accent1"/>
                </a:solidFill>
                <a:latin typeface="+mj-lt"/>
                <a:hlinkClick r:id="rId5">
                  <a:extLst>
                    <a:ext uri="{A12FA001-AC4F-418D-AE19-62706E023703}">
                      <ahyp:hlinkClr xmlns:ahyp="http://schemas.microsoft.com/office/drawing/2018/hyperlinkcolor" val="tx"/>
                    </a:ext>
                  </a:extLst>
                </a:hlinkClick>
              </a:rPr>
              <a:t>File Healer app ALP</a:t>
            </a:r>
            <a:r>
              <a:rPr lang="en-GB" sz="1000" b="1" dirty="0">
                <a:solidFill>
                  <a:schemeClr val="accent1"/>
                </a:solidFill>
                <a:latin typeface="+mj-lt"/>
              </a:rPr>
              <a:t> </a:t>
            </a:r>
            <a:r>
              <a:rPr lang="en-GB" sz="1000" dirty="0">
                <a:solidFill>
                  <a:schemeClr val="bg1"/>
                </a:solidFill>
                <a:latin typeface="+mj-lt"/>
              </a:rPr>
              <a:t>pushing adoption for Operators and Team leaders</a:t>
            </a:r>
          </a:p>
          <a:p>
            <a:pPr marL="171450" lvl="0" indent="-171450" fontAlgn="ctr">
              <a:buFont typeface="Arial" panose="020B0604020202020204" pitchFamily="34" charset="0"/>
              <a:buChar char="•"/>
              <a:defRPr/>
            </a:pPr>
            <a:r>
              <a:rPr kumimoji="0" lang="en-GB" sz="1000" b="1" i="0" strike="noStrike" kern="1200" cap="none" spc="0" normalizeH="0" baseline="0" noProof="0" dirty="0">
                <a:ln>
                  <a:noFill/>
                </a:ln>
                <a:solidFill>
                  <a:schemeClr val="accent1"/>
                </a:solidFill>
                <a:effectLst/>
                <a:uLnTx/>
                <a:uFillTx/>
                <a:latin typeface="+mj-lt"/>
                <a:ea typeface="+mn-ea"/>
                <a:cs typeface="+mn-cs"/>
              </a:rPr>
              <a:t>CargoWise One </a:t>
            </a:r>
            <a:r>
              <a:rPr kumimoji="0" lang="en-GB" sz="1000" i="0" u="none" strike="noStrike" kern="1200" cap="none" spc="0" normalizeH="0" baseline="0" noProof="0" dirty="0">
                <a:ln>
                  <a:noFill/>
                </a:ln>
                <a:solidFill>
                  <a:schemeClr val="bg1"/>
                </a:solidFill>
                <a:effectLst/>
                <a:uLnTx/>
                <a:uFillTx/>
                <a:latin typeface="+mj-lt"/>
                <a:ea typeface="+mn-ea"/>
                <a:cs typeface="+mn-cs"/>
              </a:rPr>
              <a:t>– Used by operators (resistance to be used by Team Leaders) – usually perceived as not user friendly</a:t>
            </a:r>
          </a:p>
          <a:p>
            <a:pPr marL="171450" lvl="0" indent="-171450" fontAlgn="ctr">
              <a:buFont typeface="Arial" panose="020B0604020202020204" pitchFamily="34" charset="0"/>
              <a:buChar char="•"/>
              <a:defRPr/>
            </a:pPr>
            <a:r>
              <a:rPr lang="en-GB" sz="1000" b="1" dirty="0">
                <a:solidFill>
                  <a:schemeClr val="accent1"/>
                </a:solidFill>
                <a:latin typeface="+mj-lt"/>
              </a:rPr>
              <a:t>Local Tools </a:t>
            </a:r>
            <a:r>
              <a:rPr lang="en-GB" sz="1000" dirty="0">
                <a:solidFill>
                  <a:schemeClr val="bg1"/>
                </a:solidFill>
                <a:latin typeface="+mj-lt"/>
              </a:rPr>
              <a:t>– Usually excel reports a mix of SAP/CW1</a:t>
            </a:r>
            <a:endParaRPr kumimoji="0" lang="en-GB" sz="1000" i="0" u="none" strike="noStrike" kern="1200" cap="none" spc="0" normalizeH="0" baseline="0" noProof="0" dirty="0">
              <a:ln>
                <a:noFill/>
              </a:ln>
              <a:solidFill>
                <a:schemeClr val="bg1"/>
              </a:solidFill>
              <a:effectLst/>
              <a:uLnTx/>
              <a:uFillTx/>
              <a:latin typeface="+mj-lt"/>
              <a:ea typeface="+mn-ea"/>
              <a:cs typeface="+mn-cs"/>
            </a:endParaRPr>
          </a:p>
          <a:p>
            <a:pPr lvl="0" fontAlgn="ctr">
              <a:defRPr/>
            </a:pPr>
            <a:endParaRPr kumimoji="0" lang="en-GB" sz="1000" i="0" u="none" strike="noStrike" kern="1200" cap="none" spc="0" normalizeH="0" baseline="0" noProof="0" dirty="0">
              <a:ln>
                <a:noFill/>
              </a:ln>
              <a:solidFill>
                <a:schemeClr val="bg1"/>
              </a:solidFill>
              <a:effectLst/>
              <a:uLnTx/>
              <a:uFillTx/>
              <a:latin typeface="Maersk Headline Light"/>
              <a:ea typeface="+mn-ea"/>
              <a:cs typeface="+mn-cs"/>
            </a:endParaRPr>
          </a:p>
          <a:p>
            <a:pPr lvl="0" fontAlgn="ctr">
              <a:defRPr/>
            </a:pPr>
            <a:r>
              <a:rPr kumimoji="0" lang="en-GB" sz="1000" b="1" i="0" u="none" strike="noStrike" kern="1200" cap="none" spc="0" normalizeH="0" baseline="0" noProof="0" dirty="0">
                <a:ln>
                  <a:noFill/>
                </a:ln>
                <a:solidFill>
                  <a:srgbClr val="FFFFFF"/>
                </a:solidFill>
                <a:effectLst/>
                <a:uLnTx/>
                <a:uFillTx/>
                <a:latin typeface="Maersk Headline Light"/>
                <a:ea typeface="+mn-ea"/>
                <a:cs typeface="+mn-cs"/>
              </a:rPr>
              <a:t>2. </a:t>
            </a:r>
            <a:r>
              <a:rPr lang="en-GB" sz="1000" b="1" dirty="0">
                <a:solidFill>
                  <a:srgbClr val="FFFFFF"/>
                </a:solidFill>
                <a:latin typeface="Maersk Headline Light"/>
              </a:rPr>
              <a:t>Data gaps in File Healer app → unreliable reporting </a:t>
            </a:r>
          </a:p>
          <a:p>
            <a:pPr lvl="0" fontAlgn="ctr">
              <a:defRPr/>
            </a:pPr>
            <a:r>
              <a:rPr kumimoji="0" lang="en-GB" sz="1000" b="0" i="0" u="none" strike="noStrike" kern="1200" cap="none" spc="0" normalizeH="0" baseline="0" noProof="0" dirty="0">
                <a:ln>
                  <a:noFill/>
                </a:ln>
                <a:solidFill>
                  <a:srgbClr val="FFFFFF"/>
                </a:solidFill>
                <a:effectLst/>
                <a:uLnTx/>
                <a:uFillTx/>
                <a:latin typeface="Maersk Headline Light"/>
                <a:ea typeface="+mn-ea"/>
                <a:cs typeface="+mn-cs"/>
              </a:rPr>
              <a:t>Each country has different and multiple exceptions making it difficult to mirror the count of sick files from CW1 i.e.. SCM Billing exceptions / periodic billing, etc</a:t>
            </a: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Maersk Headline Light"/>
              <a:ea typeface="+mn-ea"/>
              <a:cs typeface="+mn-cs"/>
            </a:endParaRPr>
          </a:p>
          <a:p>
            <a:pPr fontAlgn="ctr">
              <a:defRPr/>
            </a:pPr>
            <a:r>
              <a:rPr kumimoji="0" lang="en-GB" sz="1000" b="1" i="0" u="none" strike="noStrike" kern="1200" cap="none" spc="0" normalizeH="0" baseline="0" noProof="0" dirty="0">
                <a:ln>
                  <a:noFill/>
                </a:ln>
                <a:solidFill>
                  <a:srgbClr val="FFFFFF"/>
                </a:solidFill>
                <a:effectLst/>
                <a:uLnTx/>
                <a:uFillTx/>
                <a:latin typeface="Maersk Headline Light"/>
                <a:ea typeface="+mn-ea"/>
                <a:cs typeface="+mn-cs"/>
              </a:rPr>
              <a:t>3. </a:t>
            </a:r>
            <a:r>
              <a:rPr lang="en-GB" sz="1000" b="1" dirty="0">
                <a:solidFill>
                  <a:srgbClr val="FFFFFF"/>
                </a:solidFill>
                <a:latin typeface="Maersk Headline Light"/>
              </a:rPr>
              <a:t>CW1 not fully used → inconsistent processe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FFFFFF"/>
                </a:solidFill>
                <a:latin typeface="Maersk Headline Light"/>
              </a:rPr>
              <a:t>Team leaders not using filtering options (Operators not 100% adoption)</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FFFFFF"/>
                </a:solidFill>
                <a:latin typeface="Maersk Headline Light"/>
              </a:rPr>
              <a:t>FINOPS/BCOs not using reporting capabilities of CW1 (or Page 1)</a:t>
            </a:r>
          </a:p>
        </p:txBody>
      </p:sp>
      <p:sp>
        <p:nvSpPr>
          <p:cNvPr id="3" name="Date Placeholder 2">
            <a:extLst>
              <a:ext uri="{FF2B5EF4-FFF2-40B4-BE49-F238E27FC236}">
                <a16:creationId xmlns:a16="http://schemas.microsoft.com/office/drawing/2014/main" id="{0E191815-BA3E-F441-3551-E0E09A7C03B6}"/>
              </a:ext>
            </a:extLst>
          </p:cNvPr>
          <p:cNvSpPr>
            <a:spLocks noGrp="1"/>
          </p:cNvSpPr>
          <p:nvPr>
            <p:ph type="dt" sz="half" idx="10"/>
          </p:nvPr>
        </p:nvSpPr>
        <p:spPr>
          <a:xfrm>
            <a:off x="36576" y="6702552"/>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 b="0" i="0" u="none" strike="noStrike" kern="1200" cap="none" spc="0" normalizeH="0" baseline="0" noProof="0">
              <a:ln>
                <a:noFill/>
              </a:ln>
              <a:noFill/>
              <a:effectLst/>
              <a:uLnTx/>
              <a:uFillTx/>
              <a:latin typeface="Maersk Text"/>
              <a:ea typeface="+mn-ea"/>
              <a:cs typeface="+mn-cs"/>
            </a:endParaRPr>
          </a:p>
        </p:txBody>
      </p:sp>
      <p:sp>
        <p:nvSpPr>
          <p:cNvPr id="7" name="Title 1">
            <a:extLst>
              <a:ext uri="{FF2B5EF4-FFF2-40B4-BE49-F238E27FC236}">
                <a16:creationId xmlns:a16="http://schemas.microsoft.com/office/drawing/2014/main" id="{5B1640E4-E09D-9F19-8EC9-1B902DA59BEC}"/>
              </a:ext>
            </a:extLst>
          </p:cNvPr>
          <p:cNvSpPr txBox="1">
            <a:spLocks/>
          </p:cNvSpPr>
          <p:nvPr/>
        </p:nvSpPr>
        <p:spPr>
          <a:xfrm>
            <a:off x="371475" y="323228"/>
            <a:ext cx="11675745" cy="93027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141414"/>
                </a:solidFill>
                <a:effectLst/>
                <a:uLnTx/>
                <a:uFillTx/>
                <a:latin typeface="Maersk Headline Light"/>
                <a:ea typeface="+mj-ea"/>
                <a:cs typeface="+mj-cs"/>
              </a:rPr>
              <a:t>Why We Need</a:t>
            </a:r>
            <a:br>
              <a:rPr kumimoji="0" lang="en-US" sz="3200" b="0" i="0" u="none" strike="noStrike" kern="1200" cap="none" spc="0" normalizeH="0" baseline="0" noProof="0" dirty="0">
                <a:ln>
                  <a:noFill/>
                </a:ln>
                <a:solidFill>
                  <a:srgbClr val="42B0D5"/>
                </a:solidFill>
                <a:effectLst/>
                <a:uLnTx/>
                <a:uFillTx/>
                <a:latin typeface="Maersk Headline Light"/>
                <a:ea typeface="+mj-ea"/>
                <a:cs typeface="+mj-cs"/>
              </a:rPr>
            </a:br>
            <a:r>
              <a:rPr kumimoji="0" lang="en-US" sz="3200" b="0" i="0" u="none" strike="noStrike" kern="1200" cap="none" spc="0" normalizeH="0" baseline="0" noProof="0" dirty="0">
                <a:ln>
                  <a:noFill/>
                </a:ln>
                <a:solidFill>
                  <a:srgbClr val="42B0D5"/>
                </a:solidFill>
                <a:effectLst/>
                <a:uLnTx/>
                <a:uFillTx/>
                <a:latin typeface="Maersk Headline Light"/>
                <a:ea typeface="+mj-ea"/>
                <a:cs typeface="+mj-cs"/>
              </a:rPr>
              <a:t>		</a:t>
            </a:r>
            <a:r>
              <a:rPr lang="en-US" sz="3200" dirty="0">
                <a:solidFill>
                  <a:srgbClr val="42B0D5"/>
                </a:solidFill>
                <a:latin typeface="Maersk Headline Light"/>
              </a:rPr>
              <a:t>   </a:t>
            </a:r>
            <a:r>
              <a:rPr kumimoji="0" lang="en-US" sz="3200" b="0" i="0" u="none" strike="noStrike" kern="1200" cap="none" spc="0" normalizeH="0" baseline="0" noProof="0" dirty="0">
                <a:ln>
                  <a:noFill/>
                </a:ln>
                <a:solidFill>
                  <a:srgbClr val="42B0D5"/>
                </a:solidFill>
                <a:effectLst/>
                <a:uLnTx/>
                <a:uFillTx/>
                <a:latin typeface="Maersk Headline Light"/>
                <a:ea typeface="+mj-ea"/>
                <a:cs typeface="+mj-cs"/>
              </a:rPr>
              <a:t>a Standard Way of Working</a:t>
            </a:r>
          </a:p>
        </p:txBody>
      </p:sp>
      <p:sp>
        <p:nvSpPr>
          <p:cNvPr id="9" name="TextBox 8">
            <a:extLst>
              <a:ext uri="{FF2B5EF4-FFF2-40B4-BE49-F238E27FC236}">
                <a16:creationId xmlns:a16="http://schemas.microsoft.com/office/drawing/2014/main" id="{468EB89C-DDC5-30CA-E35C-90F0716F0435}"/>
              </a:ext>
            </a:extLst>
          </p:cNvPr>
          <p:cNvSpPr txBox="1"/>
          <p:nvPr/>
        </p:nvSpPr>
        <p:spPr>
          <a:xfrm>
            <a:off x="4570455" y="2314776"/>
            <a:ext cx="6094476" cy="31393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50000"/>
                    <a:lumOff val="50000"/>
                  </a:schemeClr>
                </a:solidFill>
                <a:latin typeface="Maersk Headline Light"/>
              </a:rPr>
              <a:t>Opera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lumMod val="50000"/>
                  <a:lumOff val="50000"/>
                </a:schemeClr>
              </a:solidFill>
              <a:effectLst/>
              <a:uLnTx/>
              <a:uFillTx/>
              <a:latin typeface="Maersk Headlin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50000"/>
                    <a:lumOff val="50000"/>
                  </a:schemeClr>
                </a:solidFill>
                <a:latin typeface="Maersk Headline Light"/>
              </a:rPr>
              <a:t>Team leaders / SU</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tx1">
                  <a:lumMod val="50000"/>
                  <a:lumOff val="50000"/>
                </a:schemeClr>
              </a:solidFill>
              <a:latin typeface="Maersk Headline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50000"/>
                    <a:lumOff val="50000"/>
                  </a:schemeClr>
                </a:solidFill>
                <a:latin typeface="Maersk Headline Light"/>
              </a:rPr>
              <a:t>Station Mana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lumMod val="50000"/>
                  <a:lumOff val="50000"/>
                </a:schemeClr>
              </a:solidFill>
              <a:effectLst/>
              <a:uLnTx/>
              <a:uFillTx/>
              <a:latin typeface="Maersk Headlin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50000"/>
                    <a:lumOff val="50000"/>
                  </a:schemeClr>
                </a:solidFill>
                <a:latin typeface="Maersk Headline Light"/>
              </a:rPr>
              <a:t>FINO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lumMod val="50000"/>
                  <a:lumOff val="50000"/>
                </a:schemeClr>
              </a:solidFill>
              <a:effectLst/>
              <a:uLnTx/>
              <a:uFillTx/>
              <a:latin typeface="Maersk Headlin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50000"/>
                    <a:lumOff val="50000"/>
                  </a:schemeClr>
                </a:solidFill>
                <a:latin typeface="Maersk Headline Light"/>
              </a:rPr>
              <a:t>BC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lumMod val="50000"/>
                  <a:lumOff val="50000"/>
                </a:schemeClr>
              </a:solidFill>
              <a:effectLst/>
              <a:uLnTx/>
              <a:uFillTx/>
              <a:latin typeface="Maersk Headlin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50000"/>
                    <a:lumOff val="50000"/>
                  </a:schemeClr>
                </a:solidFill>
                <a:latin typeface="Maersk Headline Light"/>
              </a:rPr>
              <a:t>High Level Stakeholders</a:t>
            </a:r>
            <a:endParaRPr kumimoji="0" lang="en-US" sz="1800" b="0" i="0" u="none" strike="noStrike" kern="1200" cap="none" spc="0" normalizeH="0" baseline="0" noProof="0" dirty="0">
              <a:ln>
                <a:noFill/>
              </a:ln>
              <a:solidFill>
                <a:schemeClr val="tx1">
                  <a:lumMod val="50000"/>
                  <a:lumOff val="50000"/>
                </a:schemeClr>
              </a:solidFill>
              <a:effectLst/>
              <a:uLnTx/>
              <a:uFillTx/>
              <a:latin typeface="Maersk Headline Light"/>
              <a:ea typeface="+mn-ea"/>
              <a:cs typeface="+mn-cs"/>
            </a:endParaRPr>
          </a:p>
        </p:txBody>
      </p:sp>
      <p:cxnSp>
        <p:nvCxnSpPr>
          <p:cNvPr id="10" name="Straight Connector 9">
            <a:extLst>
              <a:ext uri="{FF2B5EF4-FFF2-40B4-BE49-F238E27FC236}">
                <a16:creationId xmlns:a16="http://schemas.microsoft.com/office/drawing/2014/main" id="{1847ED5B-039B-707E-064A-7423B152BC7B}"/>
              </a:ext>
            </a:extLst>
          </p:cNvPr>
          <p:cNvCxnSpPr/>
          <p:nvPr/>
        </p:nvCxnSpPr>
        <p:spPr>
          <a:xfrm>
            <a:off x="4570455" y="2313145"/>
            <a:ext cx="6912000"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1CE07FAB-1BA7-3472-BCB0-C70D91D91543}"/>
              </a:ext>
            </a:extLst>
          </p:cNvPr>
          <p:cNvCxnSpPr/>
          <p:nvPr/>
        </p:nvCxnSpPr>
        <p:spPr>
          <a:xfrm>
            <a:off x="4570455" y="2831305"/>
            <a:ext cx="6912000"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A2FB9045-C736-F775-6838-11681EB0E4BE}"/>
              </a:ext>
            </a:extLst>
          </p:cNvPr>
          <p:cNvCxnSpPr>
            <a:cxnSpLocks/>
          </p:cNvCxnSpPr>
          <p:nvPr/>
        </p:nvCxnSpPr>
        <p:spPr>
          <a:xfrm>
            <a:off x="7136871" y="1865056"/>
            <a:ext cx="0" cy="360000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D489C362-8194-3B5B-2CD5-E02B1F123039}"/>
              </a:ext>
            </a:extLst>
          </p:cNvPr>
          <p:cNvCxnSpPr/>
          <p:nvPr/>
        </p:nvCxnSpPr>
        <p:spPr>
          <a:xfrm>
            <a:off x="4570455" y="3376897"/>
            <a:ext cx="6912000"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1E3FD97D-2C84-95F5-F298-7CF941E5F4A0}"/>
              </a:ext>
            </a:extLst>
          </p:cNvPr>
          <p:cNvCxnSpPr/>
          <p:nvPr/>
        </p:nvCxnSpPr>
        <p:spPr>
          <a:xfrm>
            <a:off x="4570455" y="3905485"/>
            <a:ext cx="6912000"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6458658A-A099-70B3-CC98-F635E9C29BD1}"/>
              </a:ext>
            </a:extLst>
          </p:cNvPr>
          <p:cNvCxnSpPr/>
          <p:nvPr/>
        </p:nvCxnSpPr>
        <p:spPr>
          <a:xfrm>
            <a:off x="4570455" y="4465033"/>
            <a:ext cx="6912000"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0689A46C-E222-E256-863C-0A7E6DFF19A3}"/>
              </a:ext>
            </a:extLst>
          </p:cNvPr>
          <p:cNvCxnSpPr/>
          <p:nvPr/>
        </p:nvCxnSpPr>
        <p:spPr>
          <a:xfrm>
            <a:off x="4570455" y="4977097"/>
            <a:ext cx="6912000" cy="0"/>
          </a:xfrm>
          <a:prstGeom prst="line">
            <a:avLst/>
          </a:prstGeom>
          <a:ln/>
        </p:spPr>
        <p:style>
          <a:lnRef idx="3">
            <a:schemeClr val="accent1"/>
          </a:lnRef>
          <a:fillRef idx="0">
            <a:schemeClr val="accent1"/>
          </a:fillRef>
          <a:effectRef idx="2">
            <a:schemeClr val="accent1"/>
          </a:effectRef>
          <a:fontRef idx="minor">
            <a:schemeClr val="tx1"/>
          </a:fontRef>
        </p:style>
      </p:cxnSp>
      <p:sp>
        <p:nvSpPr>
          <p:cNvPr id="22" name="Rectangle 21">
            <a:extLst>
              <a:ext uri="{FF2B5EF4-FFF2-40B4-BE49-F238E27FC236}">
                <a16:creationId xmlns:a16="http://schemas.microsoft.com/office/drawing/2014/main" id="{21E3DBE4-0538-CF23-1133-16962466DD3A}"/>
              </a:ext>
            </a:extLst>
          </p:cNvPr>
          <p:cNvSpPr/>
          <p:nvPr/>
        </p:nvSpPr>
        <p:spPr>
          <a:xfrm>
            <a:off x="7327689" y="2387006"/>
            <a:ext cx="887363" cy="36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NL" sz="2000" noProof="0" dirty="0" err="1"/>
          </a:p>
        </p:txBody>
      </p:sp>
      <p:sp>
        <p:nvSpPr>
          <p:cNvPr id="23" name="Rectangle 22">
            <a:extLst>
              <a:ext uri="{FF2B5EF4-FFF2-40B4-BE49-F238E27FC236}">
                <a16:creationId xmlns:a16="http://schemas.microsoft.com/office/drawing/2014/main" id="{A977B830-0E6A-97F3-B8EF-A0E17CCD5FF8}"/>
              </a:ext>
            </a:extLst>
          </p:cNvPr>
          <p:cNvSpPr/>
          <p:nvPr/>
        </p:nvSpPr>
        <p:spPr>
          <a:xfrm>
            <a:off x="7327690" y="2940866"/>
            <a:ext cx="4017467" cy="36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NL" sz="2000" noProof="0" dirty="0" err="1"/>
          </a:p>
        </p:txBody>
      </p:sp>
      <p:sp>
        <p:nvSpPr>
          <p:cNvPr id="24" name="Rectangle 23">
            <a:extLst>
              <a:ext uri="{FF2B5EF4-FFF2-40B4-BE49-F238E27FC236}">
                <a16:creationId xmlns:a16="http://schemas.microsoft.com/office/drawing/2014/main" id="{0397C2C0-333E-149C-7808-66604D852E11}"/>
              </a:ext>
            </a:extLst>
          </p:cNvPr>
          <p:cNvSpPr/>
          <p:nvPr/>
        </p:nvSpPr>
        <p:spPr>
          <a:xfrm>
            <a:off x="8215049" y="3469357"/>
            <a:ext cx="3130112" cy="36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NL" sz="2000" noProof="0" dirty="0" err="1"/>
          </a:p>
        </p:txBody>
      </p:sp>
      <p:sp>
        <p:nvSpPr>
          <p:cNvPr id="25" name="Rectangle 24">
            <a:extLst>
              <a:ext uri="{FF2B5EF4-FFF2-40B4-BE49-F238E27FC236}">
                <a16:creationId xmlns:a16="http://schemas.microsoft.com/office/drawing/2014/main" id="{803A4BBA-8397-C8FB-E1F5-2ED33E402FB3}"/>
              </a:ext>
            </a:extLst>
          </p:cNvPr>
          <p:cNvSpPr/>
          <p:nvPr/>
        </p:nvSpPr>
        <p:spPr>
          <a:xfrm>
            <a:off x="8215055" y="4005259"/>
            <a:ext cx="3130107" cy="36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NL" sz="2000" noProof="0" dirty="0" err="1"/>
          </a:p>
        </p:txBody>
      </p:sp>
      <p:sp>
        <p:nvSpPr>
          <p:cNvPr id="26" name="Rectangle 25">
            <a:extLst>
              <a:ext uri="{FF2B5EF4-FFF2-40B4-BE49-F238E27FC236}">
                <a16:creationId xmlns:a16="http://schemas.microsoft.com/office/drawing/2014/main" id="{65F245E5-8693-162B-0DDC-053B0C068462}"/>
              </a:ext>
            </a:extLst>
          </p:cNvPr>
          <p:cNvSpPr/>
          <p:nvPr/>
        </p:nvSpPr>
        <p:spPr>
          <a:xfrm>
            <a:off x="8215055" y="4517322"/>
            <a:ext cx="3130109" cy="36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NL" sz="2000" noProof="0" dirty="0" err="1"/>
          </a:p>
        </p:txBody>
      </p:sp>
      <p:sp>
        <p:nvSpPr>
          <p:cNvPr id="27" name="Rectangle 26">
            <a:extLst>
              <a:ext uri="{FF2B5EF4-FFF2-40B4-BE49-F238E27FC236}">
                <a16:creationId xmlns:a16="http://schemas.microsoft.com/office/drawing/2014/main" id="{9F1CBB3B-28A8-9886-F4D2-4B413A59C4ED}"/>
              </a:ext>
            </a:extLst>
          </p:cNvPr>
          <p:cNvSpPr/>
          <p:nvPr/>
        </p:nvSpPr>
        <p:spPr>
          <a:xfrm>
            <a:off x="7327690" y="4006992"/>
            <a:ext cx="887365" cy="360000"/>
          </a:xfrm>
          <a:prstGeom prst="rect">
            <a:avLst/>
          </a:prstGeom>
          <a:pattFill prst="dkUpDiag">
            <a:fgClr>
              <a:schemeClr val="accent1"/>
            </a:fgClr>
            <a:bgClr>
              <a:schemeClr val="bg1"/>
            </a:bgClr>
          </a:pattFill>
          <a:ln>
            <a:noFill/>
          </a:ln>
        </p:spPr>
        <p:style>
          <a:lnRef idx="0">
            <a:scrgbClr r="0" g="0" b="0"/>
          </a:lnRef>
          <a:fillRef idx="1001">
            <a:schemeClr val="dk2"/>
          </a:fillRef>
          <a:effectRef idx="0">
            <a:scrgbClr r="0" g="0" b="0"/>
          </a:effectRef>
          <a:fontRef idx="minor">
            <a:schemeClr val="lt1"/>
          </a:fontRef>
        </p:style>
        <p:txBody>
          <a:bodyPr lIns="237600" tIns="237600" rIns="237600" bIns="237600" rtlCol="0" anchor="ctr"/>
          <a:lstStyle/>
          <a:p>
            <a:pPr algn="ctr"/>
            <a:endParaRPr lang="en-NL" sz="2000" noProof="0" dirty="0" err="1"/>
          </a:p>
        </p:txBody>
      </p:sp>
      <p:sp>
        <p:nvSpPr>
          <p:cNvPr id="29" name="Rectangle 28">
            <a:extLst>
              <a:ext uri="{FF2B5EF4-FFF2-40B4-BE49-F238E27FC236}">
                <a16:creationId xmlns:a16="http://schemas.microsoft.com/office/drawing/2014/main" id="{2E5A20AA-154D-704D-3039-17C86061BFB7}"/>
              </a:ext>
            </a:extLst>
          </p:cNvPr>
          <p:cNvSpPr/>
          <p:nvPr/>
        </p:nvSpPr>
        <p:spPr>
          <a:xfrm>
            <a:off x="8215048" y="5094619"/>
            <a:ext cx="3130109" cy="36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NL" sz="2000" noProof="0" dirty="0" err="1"/>
          </a:p>
        </p:txBody>
      </p:sp>
      <p:sp>
        <p:nvSpPr>
          <p:cNvPr id="38" name="TextBox 37">
            <a:extLst>
              <a:ext uri="{FF2B5EF4-FFF2-40B4-BE49-F238E27FC236}">
                <a16:creationId xmlns:a16="http://schemas.microsoft.com/office/drawing/2014/main" id="{C97D785D-436F-297F-1A85-88B3C7373E75}"/>
              </a:ext>
            </a:extLst>
          </p:cNvPr>
          <p:cNvSpPr txBox="1"/>
          <p:nvPr/>
        </p:nvSpPr>
        <p:spPr>
          <a:xfrm>
            <a:off x="7771370" y="1608656"/>
            <a:ext cx="3880945" cy="726062"/>
          </a:xfrm>
          <a:prstGeom prst="rect">
            <a:avLst/>
          </a:prstGeom>
          <a:noFill/>
        </p:spPr>
        <p:txBody>
          <a:bodyPr wrap="square" lIns="237600" tIns="237600" rIns="237600" bIns="237600" rtlCol="0">
            <a:spAutoFit/>
          </a:bodyPr>
          <a:lstStyle/>
          <a:p>
            <a:pPr algn="l"/>
            <a:r>
              <a:rPr lang="en-GB" sz="1600" dirty="0"/>
              <a:t>*                                  *                          **</a:t>
            </a:r>
            <a:endParaRPr lang="en-NL" sz="1600" dirty="0" err="1"/>
          </a:p>
        </p:txBody>
      </p:sp>
      <p:sp>
        <p:nvSpPr>
          <p:cNvPr id="21" name="TextBox 20">
            <a:extLst>
              <a:ext uri="{FF2B5EF4-FFF2-40B4-BE49-F238E27FC236}">
                <a16:creationId xmlns:a16="http://schemas.microsoft.com/office/drawing/2014/main" id="{738C8525-998D-400A-21F7-EBF48F8A1A0B}"/>
              </a:ext>
            </a:extLst>
          </p:cNvPr>
          <p:cNvSpPr txBox="1"/>
          <p:nvPr/>
        </p:nvSpPr>
        <p:spPr>
          <a:xfrm>
            <a:off x="7226046" y="1855684"/>
            <a:ext cx="434111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accent2"/>
                </a:solidFill>
                <a:latin typeface="Maersk Headline Light"/>
              </a:rPr>
              <a:t>    CW1             File Healer             Page 1</a:t>
            </a:r>
          </a:p>
        </p:txBody>
      </p:sp>
      <p:sp>
        <p:nvSpPr>
          <p:cNvPr id="39" name="TextBox 38">
            <a:extLst>
              <a:ext uri="{FF2B5EF4-FFF2-40B4-BE49-F238E27FC236}">
                <a16:creationId xmlns:a16="http://schemas.microsoft.com/office/drawing/2014/main" id="{3CF4D3B4-8914-E3BC-C261-B0D07B10F907}"/>
              </a:ext>
            </a:extLst>
          </p:cNvPr>
          <p:cNvSpPr txBox="1"/>
          <p:nvPr/>
        </p:nvSpPr>
        <p:spPr>
          <a:xfrm>
            <a:off x="10134417" y="5530128"/>
            <a:ext cx="1603342" cy="803006"/>
          </a:xfrm>
          <a:prstGeom prst="rect">
            <a:avLst/>
          </a:prstGeom>
          <a:noFill/>
        </p:spPr>
        <p:txBody>
          <a:bodyPr wrap="square" lIns="237600" tIns="237600" rIns="237600" bIns="237600" rtlCol="0">
            <a:spAutoFit/>
          </a:bodyPr>
          <a:lstStyle/>
          <a:p>
            <a:pPr algn="l"/>
            <a:r>
              <a:rPr lang="en-GB" sz="1050" dirty="0"/>
              <a:t>*   Leading KPIs</a:t>
            </a:r>
          </a:p>
          <a:p>
            <a:pPr algn="l"/>
            <a:r>
              <a:rPr lang="en-GB" sz="1050" dirty="0"/>
              <a:t>** Lagging KPIs</a:t>
            </a:r>
            <a:endParaRPr lang="en-NL" sz="1050" dirty="0" err="1"/>
          </a:p>
        </p:txBody>
      </p:sp>
    </p:spTree>
    <p:extLst>
      <p:ext uri="{BB962C8B-B14F-4D97-AF65-F5344CB8AC3E}">
        <p14:creationId xmlns:p14="http://schemas.microsoft.com/office/powerpoint/2010/main" val="1462429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1CC853A-DE42-1046-1CD3-57C74BFC54BD}"/>
              </a:ext>
            </a:extLst>
          </p:cNvPr>
          <p:cNvSpPr txBox="1"/>
          <p:nvPr/>
        </p:nvSpPr>
        <p:spPr>
          <a:xfrm>
            <a:off x="528839" y="319266"/>
            <a:ext cx="4920616" cy="800219"/>
          </a:xfrm>
          <a:prstGeom prst="rect">
            <a:avLst/>
          </a:prstGeom>
          <a:solidFill>
            <a:schemeClr val="accent4"/>
          </a:solidFill>
        </p:spPr>
        <p:txBody>
          <a:bodyPr wrap="square">
            <a:spAutoFit/>
          </a:bodyPr>
          <a:lstStyle/>
          <a:p>
            <a:r>
              <a:rPr lang="en-US" sz="1800" b="1" dirty="0">
                <a:solidFill>
                  <a:schemeClr val="bg1"/>
                </a:solidFill>
                <a:latin typeface="Maersk Headline" panose="00000500000000000000" pitchFamily="2" charset="0"/>
              </a:rPr>
              <a:t>Leading Indicators</a:t>
            </a:r>
            <a:r>
              <a:rPr lang="en-US" b="1" dirty="0">
                <a:solidFill>
                  <a:schemeClr val="bg1"/>
                </a:solidFill>
                <a:latin typeface="Maersk Headline" panose="00000500000000000000" pitchFamily="2" charset="0"/>
              </a:rPr>
              <a:t> (Proactive)</a:t>
            </a:r>
          </a:p>
          <a:p>
            <a:r>
              <a:rPr lang="en-US" sz="1400" dirty="0">
                <a:solidFill>
                  <a:schemeClr val="bg1"/>
                </a:solidFill>
                <a:latin typeface="Maersk Headline" panose="00000500000000000000" pitchFamily="2" charset="0"/>
              </a:rPr>
              <a:t>Predict future performance and drive proactive action. Example: Daily booking completion rate</a:t>
            </a:r>
            <a:r>
              <a:rPr lang="en-US" sz="1400" dirty="0">
                <a:solidFill>
                  <a:schemeClr val="bg1"/>
                </a:solidFill>
              </a:rPr>
              <a:t>.</a:t>
            </a:r>
            <a:endParaRPr lang="en-NL" sz="1400" dirty="0">
              <a:solidFill>
                <a:schemeClr val="bg1"/>
              </a:solidFill>
            </a:endParaRPr>
          </a:p>
        </p:txBody>
      </p:sp>
      <p:sp>
        <p:nvSpPr>
          <p:cNvPr id="8" name="TextBox 7">
            <a:extLst>
              <a:ext uri="{FF2B5EF4-FFF2-40B4-BE49-F238E27FC236}">
                <a16:creationId xmlns:a16="http://schemas.microsoft.com/office/drawing/2014/main" id="{566D86B9-3B62-9B7B-1A7C-7D39F25D577C}"/>
              </a:ext>
            </a:extLst>
          </p:cNvPr>
          <p:cNvSpPr txBox="1"/>
          <p:nvPr/>
        </p:nvSpPr>
        <p:spPr>
          <a:xfrm>
            <a:off x="6096000" y="319266"/>
            <a:ext cx="5182674" cy="800219"/>
          </a:xfrm>
          <a:prstGeom prst="rect">
            <a:avLst/>
          </a:prstGeom>
          <a:solidFill>
            <a:schemeClr val="tx2"/>
          </a:solidFill>
        </p:spPr>
        <p:txBody>
          <a:bodyPr wrap="square">
            <a:spAutoFit/>
          </a:bodyPr>
          <a:lstStyle/>
          <a:p>
            <a:r>
              <a:rPr lang="en-US" sz="1800" b="1" dirty="0">
                <a:solidFill>
                  <a:schemeClr val="bg1"/>
                </a:solidFill>
                <a:latin typeface="Maersk Headline" panose="00000500000000000000" pitchFamily="2" charset="0"/>
              </a:rPr>
              <a:t>Lagging Indicators (Retrospective)</a:t>
            </a:r>
            <a:r>
              <a:rPr lang="en-US" sz="1800" dirty="0">
                <a:solidFill>
                  <a:schemeClr val="bg1"/>
                </a:solidFill>
                <a:latin typeface="Maersk Headline" panose="00000500000000000000" pitchFamily="2" charset="0"/>
              </a:rPr>
              <a:t> </a:t>
            </a:r>
          </a:p>
          <a:p>
            <a:r>
              <a:rPr lang="en-US" sz="1400" dirty="0">
                <a:solidFill>
                  <a:schemeClr val="bg1"/>
                </a:solidFill>
                <a:latin typeface="Maersk Headline" panose="00000500000000000000" pitchFamily="2" charset="0"/>
              </a:rPr>
              <a:t>Measure past performance and results. Example: Monthly invoice accuracy rate.</a:t>
            </a:r>
            <a:endParaRPr lang="en-NL" sz="1400" dirty="0">
              <a:solidFill>
                <a:schemeClr val="bg1"/>
              </a:solidFill>
              <a:latin typeface="Maersk Headline" panose="00000500000000000000" pitchFamily="2" charset="0"/>
            </a:endParaRPr>
          </a:p>
        </p:txBody>
      </p:sp>
      <p:graphicFrame>
        <p:nvGraphicFramePr>
          <p:cNvPr id="9" name="Table 8">
            <a:extLst>
              <a:ext uri="{FF2B5EF4-FFF2-40B4-BE49-F238E27FC236}">
                <a16:creationId xmlns:a16="http://schemas.microsoft.com/office/drawing/2014/main" id="{F866F9F4-FCA9-DD7C-D278-941140402E57}"/>
              </a:ext>
            </a:extLst>
          </p:cNvPr>
          <p:cNvGraphicFramePr>
            <a:graphicFrameLocks noGrp="1"/>
          </p:cNvGraphicFramePr>
          <p:nvPr>
            <p:extLst>
              <p:ext uri="{D42A27DB-BD31-4B8C-83A1-F6EECF244321}">
                <p14:modId xmlns:p14="http://schemas.microsoft.com/office/powerpoint/2010/main" val="3068412284"/>
              </p:ext>
            </p:extLst>
          </p:nvPr>
        </p:nvGraphicFramePr>
        <p:xfrm>
          <a:off x="6096000" y="1225620"/>
          <a:ext cx="5182674" cy="5033866"/>
        </p:xfrm>
        <a:graphic>
          <a:graphicData uri="http://schemas.openxmlformats.org/drawingml/2006/table">
            <a:tbl>
              <a:tblPr/>
              <a:tblGrid>
                <a:gridCol w="1874982">
                  <a:extLst>
                    <a:ext uri="{9D8B030D-6E8A-4147-A177-3AD203B41FA5}">
                      <a16:colId xmlns:a16="http://schemas.microsoft.com/office/drawing/2014/main" val="311876413"/>
                    </a:ext>
                  </a:extLst>
                </a:gridCol>
                <a:gridCol w="1580134">
                  <a:extLst>
                    <a:ext uri="{9D8B030D-6E8A-4147-A177-3AD203B41FA5}">
                      <a16:colId xmlns:a16="http://schemas.microsoft.com/office/drawing/2014/main" val="390923586"/>
                    </a:ext>
                  </a:extLst>
                </a:gridCol>
                <a:gridCol w="1727558">
                  <a:extLst>
                    <a:ext uri="{9D8B030D-6E8A-4147-A177-3AD203B41FA5}">
                      <a16:colId xmlns:a16="http://schemas.microsoft.com/office/drawing/2014/main" val="1446343022"/>
                    </a:ext>
                  </a:extLst>
                </a:gridCol>
              </a:tblGrid>
              <a:tr h="242962">
                <a:tc>
                  <a:txBody>
                    <a:bodyPr/>
                    <a:lstStyle/>
                    <a:p>
                      <a:pPr algn="ctr" fontAlgn="ctr"/>
                      <a:r>
                        <a:rPr lang="en-US" sz="1400" b="1" i="0" u="none" strike="noStrike" noProof="0" dirty="0">
                          <a:solidFill>
                            <a:srgbClr val="000000"/>
                          </a:solidFill>
                          <a:effectLst/>
                          <a:latin typeface="Maersk Headline" panose="00000500000000000000" pitchFamily="2" charset="0"/>
                        </a:rPr>
                        <a:t>Metri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B3E1"/>
                    </a:solidFill>
                  </a:tcPr>
                </a:tc>
                <a:tc>
                  <a:txBody>
                    <a:bodyPr/>
                    <a:lstStyle/>
                    <a:p>
                      <a:pPr algn="ctr" fontAlgn="ctr"/>
                      <a:r>
                        <a:rPr lang="en-US" sz="1400" b="1" i="0" u="none" strike="noStrike" noProof="0" dirty="0">
                          <a:solidFill>
                            <a:srgbClr val="000000"/>
                          </a:solidFill>
                          <a:effectLst/>
                          <a:latin typeface="Maersk Headline" panose="00000500000000000000" pitchFamily="2" charset="0"/>
                        </a:rPr>
                        <a:t>Focus Are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B3E1"/>
                    </a:solidFill>
                  </a:tcPr>
                </a:tc>
                <a:tc>
                  <a:txBody>
                    <a:bodyPr/>
                    <a:lstStyle/>
                    <a:p>
                      <a:pPr algn="ctr" fontAlgn="ctr"/>
                      <a:r>
                        <a:rPr lang="en-US" sz="1400" b="1" i="0" u="none" strike="noStrike" noProof="0" dirty="0">
                          <a:solidFill>
                            <a:srgbClr val="000000"/>
                          </a:solidFill>
                          <a:effectLst/>
                          <a:latin typeface="Maersk Headline" panose="00000500000000000000" pitchFamily="2" charset="0"/>
                        </a:rPr>
                        <a:t>Page 1 - Y/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B3E1"/>
                    </a:solidFill>
                  </a:tcPr>
                </a:tc>
                <a:extLst>
                  <a:ext uri="{0D108BD9-81ED-4DB2-BD59-A6C34878D82A}">
                    <a16:rowId xmlns:a16="http://schemas.microsoft.com/office/drawing/2014/main" val="1021351451"/>
                  </a:ext>
                </a:extLst>
              </a:tr>
              <a:tr h="417768">
                <a:tc>
                  <a:txBody>
                    <a:bodyPr/>
                    <a:lstStyle/>
                    <a:p>
                      <a:pPr algn="ctr" fontAlgn="ctr"/>
                      <a:r>
                        <a:rPr lang="en-US" sz="1200" b="1" i="0" u="none" strike="noStrike" noProof="0" dirty="0">
                          <a:solidFill>
                            <a:srgbClr val="000000"/>
                          </a:solidFill>
                          <a:effectLst/>
                          <a:latin typeface="Maersk Headline" panose="00000500000000000000" pitchFamily="2" charset="0"/>
                        </a:rPr>
                        <a:t>CW1 Adop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noProof="0" dirty="0">
                          <a:solidFill>
                            <a:srgbClr val="000000"/>
                          </a:solidFill>
                          <a:effectLst/>
                          <a:latin typeface="Maersk Headline" panose="00000500000000000000" pitchFamily="2" charset="0"/>
                        </a:rPr>
                        <a:t>Produ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3131826"/>
                  </a:ext>
                </a:extLst>
              </a:tr>
              <a:tr h="417768">
                <a:tc>
                  <a:txBody>
                    <a:bodyPr/>
                    <a:lstStyle/>
                    <a:p>
                      <a:pPr algn="ctr" fontAlgn="ctr"/>
                      <a:r>
                        <a:rPr lang="en-US" sz="1200" b="1" i="0" u="none" strike="noStrike" noProof="0" dirty="0">
                          <a:solidFill>
                            <a:srgbClr val="000000"/>
                          </a:solidFill>
                          <a:effectLst/>
                          <a:latin typeface="Maersk Headline" panose="00000500000000000000" pitchFamily="2" charset="0"/>
                        </a:rPr>
                        <a:t>Auto-rating Sel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noProof="0" dirty="0">
                          <a:solidFill>
                            <a:srgbClr val="000000"/>
                          </a:solidFill>
                          <a:effectLst/>
                          <a:latin typeface="Maersk Headline" panose="00000500000000000000" pitchFamily="2" charset="0"/>
                        </a:rPr>
                        <a:t>Produ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0862498"/>
                  </a:ext>
                </a:extLst>
              </a:tr>
              <a:tr h="417768">
                <a:tc>
                  <a:txBody>
                    <a:bodyPr/>
                    <a:lstStyle/>
                    <a:p>
                      <a:pPr algn="ctr" fontAlgn="ctr"/>
                      <a:r>
                        <a:rPr lang="en-US" sz="1200" b="1" i="0" u="none" strike="noStrike" noProof="0" dirty="0">
                          <a:solidFill>
                            <a:srgbClr val="000000"/>
                          </a:solidFill>
                          <a:effectLst/>
                          <a:latin typeface="Maersk Headline" panose="00000500000000000000" pitchFamily="2" charset="0"/>
                        </a:rPr>
                        <a:t>Invoice Accurac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200" b="0" i="0" u="none" strike="noStrike" noProof="0" dirty="0">
                          <a:solidFill>
                            <a:srgbClr val="000000"/>
                          </a:solidFill>
                          <a:effectLst/>
                          <a:latin typeface="Maersk Headline" panose="00000500000000000000" pitchFamily="2" charset="0"/>
                        </a:rPr>
                        <a:t>Customer Out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971535961"/>
                  </a:ext>
                </a:extLst>
              </a:tr>
              <a:tr h="417768">
                <a:tc>
                  <a:txBody>
                    <a:bodyPr/>
                    <a:lstStyle/>
                    <a:p>
                      <a:pPr algn="ctr" fontAlgn="ctr"/>
                      <a:r>
                        <a:rPr lang="en-US" sz="1200" b="1" i="0" u="none" strike="noStrike" noProof="0" dirty="0">
                          <a:solidFill>
                            <a:srgbClr val="000000"/>
                          </a:solidFill>
                          <a:effectLst/>
                          <a:latin typeface="Maersk Headline" panose="00000500000000000000" pitchFamily="2" charset="0"/>
                        </a:rPr>
                        <a:t>Invoice Timelin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200" b="0" i="0" u="none" strike="noStrike" noProof="0" dirty="0">
                          <a:solidFill>
                            <a:srgbClr val="000000"/>
                          </a:solidFill>
                          <a:effectLst/>
                          <a:latin typeface="Maersk Headline" panose="00000500000000000000" pitchFamily="2" charset="0"/>
                        </a:rPr>
                        <a:t>Customer Out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702669579"/>
                  </a:ext>
                </a:extLst>
              </a:tr>
              <a:tr h="417768">
                <a:tc>
                  <a:txBody>
                    <a:bodyPr/>
                    <a:lstStyle/>
                    <a:p>
                      <a:pPr algn="ctr" fontAlgn="ctr"/>
                      <a:r>
                        <a:rPr lang="en-US" sz="1200" b="1" i="0" u="none" strike="noStrike" noProof="0" dirty="0">
                          <a:solidFill>
                            <a:srgbClr val="000000"/>
                          </a:solidFill>
                          <a:effectLst/>
                          <a:latin typeface="Maersk Headline" panose="00000500000000000000" pitchFamily="2" charset="0"/>
                        </a:rPr>
                        <a:t>PO Creation timelin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a:txBody>
                    <a:bodyPr/>
                    <a:lstStyle/>
                    <a:p>
                      <a:pPr algn="ctr" fontAlgn="ctr"/>
                      <a:r>
                        <a:rPr lang="en-US" sz="1200" b="0" i="0" u="none" strike="noStrike" noProof="0" dirty="0">
                          <a:solidFill>
                            <a:srgbClr val="000000"/>
                          </a:solidFill>
                          <a:effectLst/>
                          <a:latin typeface="Maersk Headline" panose="00000500000000000000" pitchFamily="2" charset="0"/>
                        </a:rPr>
                        <a:t>Vendor Out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extLst>
                  <a:ext uri="{0D108BD9-81ED-4DB2-BD59-A6C34878D82A}">
                    <a16:rowId xmlns:a16="http://schemas.microsoft.com/office/drawing/2014/main" val="2491927057"/>
                  </a:ext>
                </a:extLst>
              </a:tr>
              <a:tr h="417768">
                <a:tc>
                  <a:txBody>
                    <a:bodyPr/>
                    <a:lstStyle/>
                    <a:p>
                      <a:pPr algn="ctr" fontAlgn="ctr"/>
                      <a:r>
                        <a:rPr lang="en-US" sz="1200" b="1" i="0" u="none" strike="noStrike" noProof="0">
                          <a:solidFill>
                            <a:srgbClr val="000000"/>
                          </a:solidFill>
                          <a:effectLst/>
                          <a:latin typeface="Maersk Headline" panose="00000500000000000000" pitchFamily="2" charset="0"/>
                        </a:rPr>
                        <a:t>First Time Hit Ratio (FTH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a:txBody>
                    <a:bodyPr/>
                    <a:lstStyle/>
                    <a:p>
                      <a:pPr algn="ctr" fontAlgn="ctr"/>
                      <a:r>
                        <a:rPr lang="en-US" sz="1200" b="0" i="0" u="none" strike="noStrike" noProof="0" dirty="0">
                          <a:solidFill>
                            <a:srgbClr val="000000"/>
                          </a:solidFill>
                          <a:effectLst/>
                          <a:latin typeface="Maersk Headline" panose="00000500000000000000" pitchFamily="2" charset="0"/>
                        </a:rPr>
                        <a:t>Vendor Out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extLst>
                  <a:ext uri="{0D108BD9-81ED-4DB2-BD59-A6C34878D82A}">
                    <a16:rowId xmlns:a16="http://schemas.microsoft.com/office/drawing/2014/main" val="3237973559"/>
                  </a:ext>
                </a:extLst>
              </a:tr>
              <a:tr h="417768">
                <a:tc>
                  <a:txBody>
                    <a:bodyPr/>
                    <a:lstStyle/>
                    <a:p>
                      <a:pPr algn="ctr" fontAlgn="ctr"/>
                      <a:r>
                        <a:rPr lang="en-US" sz="1200" b="1" i="0" u="none" strike="noStrike" noProof="0">
                          <a:solidFill>
                            <a:srgbClr val="000000"/>
                          </a:solidFill>
                          <a:effectLst/>
                          <a:latin typeface="Maersk Headline" panose="00000500000000000000" pitchFamily="2" charset="0"/>
                        </a:rPr>
                        <a:t>Vendor Payment on Ti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a:txBody>
                    <a:bodyPr/>
                    <a:lstStyle/>
                    <a:p>
                      <a:pPr algn="ctr" fontAlgn="ctr"/>
                      <a:r>
                        <a:rPr lang="en-US" sz="1200" b="0" i="0" u="none" strike="noStrike" noProof="0" dirty="0">
                          <a:solidFill>
                            <a:srgbClr val="000000"/>
                          </a:solidFill>
                          <a:effectLst/>
                          <a:latin typeface="Maersk Headline" panose="00000500000000000000" pitchFamily="2" charset="0"/>
                        </a:rPr>
                        <a:t>Vendor Outc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AEDFB"/>
                    </a:solidFill>
                  </a:tcPr>
                </a:tc>
                <a:extLst>
                  <a:ext uri="{0D108BD9-81ED-4DB2-BD59-A6C34878D82A}">
                    <a16:rowId xmlns:a16="http://schemas.microsoft.com/office/drawing/2014/main" val="1933705785"/>
                  </a:ext>
                </a:extLst>
              </a:tr>
              <a:tr h="613224">
                <a:tc>
                  <a:txBody>
                    <a:bodyPr/>
                    <a:lstStyle/>
                    <a:p>
                      <a:pPr algn="ctr" fontAlgn="ctr"/>
                      <a:r>
                        <a:rPr lang="en-US" sz="1200" b="1" i="0" u="none" strike="noStrike" noProof="0" dirty="0">
                          <a:solidFill>
                            <a:srgbClr val="000000"/>
                          </a:solidFill>
                          <a:effectLst/>
                          <a:latin typeface="Maersk Headline" panose="00000500000000000000" pitchFamily="2" charset="0"/>
                        </a:rPr>
                        <a:t>Non-Soft Clos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ctr" fontAlgn="ctr"/>
                      <a:r>
                        <a:rPr lang="en-US" sz="1200" b="0" i="0" u="none" strike="noStrike" noProof="0" dirty="0">
                          <a:solidFill>
                            <a:srgbClr val="000000"/>
                          </a:solidFill>
                          <a:effectLst/>
                          <a:latin typeface="Maersk Headline" panose="00000500000000000000" pitchFamily="2" charset="0"/>
                        </a:rPr>
                        <a:t>Financial control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142919279"/>
                  </a:ext>
                </a:extLst>
              </a:tr>
              <a:tr h="417768">
                <a:tc>
                  <a:txBody>
                    <a:bodyPr/>
                    <a:lstStyle/>
                    <a:p>
                      <a:pPr algn="ctr" fontAlgn="ctr"/>
                      <a:r>
                        <a:rPr lang="en-US" sz="1200" b="1" i="0" u="none" strike="noStrike" noProof="0">
                          <a:solidFill>
                            <a:srgbClr val="000000"/>
                          </a:solidFill>
                          <a:effectLst/>
                          <a:latin typeface="Maersk Headline" panose="00000500000000000000" pitchFamily="2" charset="0"/>
                        </a:rPr>
                        <a:t>Non-Hard Clos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ctr" fontAlgn="ctr"/>
                      <a:r>
                        <a:rPr lang="en-US" sz="1200" b="0" i="0" u="none" strike="noStrike" noProof="0" dirty="0">
                          <a:solidFill>
                            <a:srgbClr val="000000"/>
                          </a:solidFill>
                          <a:effectLst/>
                          <a:latin typeface="Maersk Headline" panose="00000500000000000000" pitchFamily="2" charset="0"/>
                        </a:rPr>
                        <a:t>Financial control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3375443730"/>
                  </a:ext>
                </a:extLst>
              </a:tr>
              <a:tr h="417768">
                <a:tc>
                  <a:txBody>
                    <a:bodyPr/>
                    <a:lstStyle/>
                    <a:p>
                      <a:pPr algn="ctr" fontAlgn="ctr"/>
                      <a:r>
                        <a:rPr lang="en-US" sz="1200" b="1" i="0" u="none" strike="noStrike" noProof="0" dirty="0">
                          <a:solidFill>
                            <a:srgbClr val="000000"/>
                          </a:solidFill>
                          <a:effectLst/>
                          <a:latin typeface="Maersk Headline" panose="00000500000000000000" pitchFamily="2" charset="0"/>
                        </a:rPr>
                        <a:t>Milestone Timelin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noProof="0" dirty="0">
                          <a:solidFill>
                            <a:srgbClr val="000000"/>
                          </a:solidFill>
                          <a:effectLst/>
                          <a:latin typeface="Maersk Headline" panose="00000500000000000000" pitchFamily="2" charset="0"/>
                        </a:rPr>
                        <a:t>Operational Performan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7727693"/>
                  </a:ext>
                </a:extLst>
              </a:tr>
              <a:tr h="417768">
                <a:tc>
                  <a:txBody>
                    <a:bodyPr/>
                    <a:lstStyle/>
                    <a:p>
                      <a:pPr algn="ctr" fontAlgn="ctr"/>
                      <a:r>
                        <a:rPr lang="en-US" sz="1200" b="1" i="0" u="none" strike="noStrike" noProof="0" dirty="0">
                          <a:solidFill>
                            <a:srgbClr val="000000"/>
                          </a:solidFill>
                          <a:effectLst/>
                          <a:latin typeface="Maersk Headline" panose="00000500000000000000" pitchFamily="2" charset="0"/>
                        </a:rPr>
                        <a:t>Milestones Completen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noProof="0" dirty="0">
                          <a:solidFill>
                            <a:srgbClr val="000000"/>
                          </a:solidFill>
                          <a:effectLst/>
                          <a:latin typeface="Maersk Headline" panose="00000500000000000000" pitchFamily="2" charset="0"/>
                        </a:rPr>
                        <a:t>Operational Performan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4614004"/>
                  </a:ext>
                </a:extLst>
              </a:tr>
            </a:tbl>
          </a:graphicData>
        </a:graphic>
      </p:graphicFrame>
      <p:pic>
        <p:nvPicPr>
          <p:cNvPr id="11" name="Graphic 10" descr="Checkbox Checked with solid fill">
            <a:extLst>
              <a:ext uri="{FF2B5EF4-FFF2-40B4-BE49-F238E27FC236}">
                <a16:creationId xmlns:a16="http://schemas.microsoft.com/office/drawing/2014/main" id="{E49E8571-F265-7251-D719-E7E90EACA8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92327" y="1475508"/>
            <a:ext cx="360000" cy="360000"/>
          </a:xfrm>
          <a:prstGeom prst="rect">
            <a:avLst/>
          </a:prstGeom>
        </p:spPr>
      </p:pic>
      <p:pic>
        <p:nvPicPr>
          <p:cNvPr id="12" name="Graphic 11" descr="Checkbox Checked with solid fill">
            <a:extLst>
              <a:ext uri="{FF2B5EF4-FFF2-40B4-BE49-F238E27FC236}">
                <a16:creationId xmlns:a16="http://schemas.microsoft.com/office/drawing/2014/main" id="{F568BD8C-1A09-BFDF-2AE0-CDD23A155B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92327" y="1905396"/>
            <a:ext cx="360000" cy="360000"/>
          </a:xfrm>
          <a:prstGeom prst="rect">
            <a:avLst/>
          </a:prstGeom>
        </p:spPr>
      </p:pic>
      <p:pic>
        <p:nvPicPr>
          <p:cNvPr id="13" name="Graphic 12" descr="Checkbox Checked with solid fill">
            <a:extLst>
              <a:ext uri="{FF2B5EF4-FFF2-40B4-BE49-F238E27FC236}">
                <a16:creationId xmlns:a16="http://schemas.microsoft.com/office/drawing/2014/main" id="{EA4F8A7D-1E77-6AD6-E6F1-F9377EBAD0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8254" y="2335284"/>
            <a:ext cx="360000" cy="360000"/>
          </a:xfrm>
          <a:prstGeom prst="rect">
            <a:avLst/>
          </a:prstGeom>
        </p:spPr>
      </p:pic>
      <p:pic>
        <p:nvPicPr>
          <p:cNvPr id="14" name="Graphic 13" descr="Checkbox Checked with solid fill">
            <a:extLst>
              <a:ext uri="{FF2B5EF4-FFF2-40B4-BE49-F238E27FC236}">
                <a16:creationId xmlns:a16="http://schemas.microsoft.com/office/drawing/2014/main" id="{F9E14EAC-009F-9DB4-1FEE-87AEA40974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8254" y="2765172"/>
            <a:ext cx="360000" cy="360000"/>
          </a:xfrm>
          <a:prstGeom prst="rect">
            <a:avLst/>
          </a:prstGeom>
        </p:spPr>
      </p:pic>
      <p:pic>
        <p:nvPicPr>
          <p:cNvPr id="16" name="Graphic 15" descr="Checkbox Checked with solid fill">
            <a:extLst>
              <a:ext uri="{FF2B5EF4-FFF2-40B4-BE49-F238E27FC236}">
                <a16:creationId xmlns:a16="http://schemas.microsoft.com/office/drawing/2014/main" id="{323BC7CF-3A54-7BEB-0249-089278A9046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053" y="3178414"/>
            <a:ext cx="360000" cy="360000"/>
          </a:xfrm>
          <a:prstGeom prst="rect">
            <a:avLst/>
          </a:prstGeom>
        </p:spPr>
      </p:pic>
      <p:pic>
        <p:nvPicPr>
          <p:cNvPr id="17" name="Graphic 16" descr="Checkbox Checked with solid fill">
            <a:extLst>
              <a:ext uri="{FF2B5EF4-FFF2-40B4-BE49-F238E27FC236}">
                <a16:creationId xmlns:a16="http://schemas.microsoft.com/office/drawing/2014/main" id="{6D648D64-012C-8A12-CB56-9B0B9E396E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053" y="3589830"/>
            <a:ext cx="360000" cy="360000"/>
          </a:xfrm>
          <a:prstGeom prst="rect">
            <a:avLst/>
          </a:prstGeom>
        </p:spPr>
      </p:pic>
      <p:pic>
        <p:nvPicPr>
          <p:cNvPr id="18" name="Graphic 17" descr="Checkbox Checked with solid fill">
            <a:extLst>
              <a:ext uri="{FF2B5EF4-FFF2-40B4-BE49-F238E27FC236}">
                <a16:creationId xmlns:a16="http://schemas.microsoft.com/office/drawing/2014/main" id="{78DC0D76-817D-BA3E-A9E7-D58258436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2980" y="4001246"/>
            <a:ext cx="360000" cy="360000"/>
          </a:xfrm>
          <a:prstGeom prst="rect">
            <a:avLst/>
          </a:prstGeom>
        </p:spPr>
      </p:pic>
      <p:pic>
        <p:nvPicPr>
          <p:cNvPr id="19" name="Graphic 18" descr="Checkbox Checked with solid fill">
            <a:extLst>
              <a:ext uri="{FF2B5EF4-FFF2-40B4-BE49-F238E27FC236}">
                <a16:creationId xmlns:a16="http://schemas.microsoft.com/office/drawing/2014/main" id="{A3AE9517-EBF0-07D3-82AC-E31EEDE72E2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2980" y="4468078"/>
            <a:ext cx="360000" cy="360000"/>
          </a:xfrm>
          <a:prstGeom prst="rect">
            <a:avLst/>
          </a:prstGeom>
        </p:spPr>
      </p:pic>
      <p:pic>
        <p:nvPicPr>
          <p:cNvPr id="20" name="Graphic 19" descr="Checkbox Checked with solid fill">
            <a:extLst>
              <a:ext uri="{FF2B5EF4-FFF2-40B4-BE49-F238E27FC236}">
                <a16:creationId xmlns:a16="http://schemas.microsoft.com/office/drawing/2014/main" id="{ADCDD05C-E1D5-54C1-438E-D1094F96F5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053" y="5010197"/>
            <a:ext cx="360000" cy="360000"/>
          </a:xfrm>
          <a:prstGeom prst="rect">
            <a:avLst/>
          </a:prstGeom>
        </p:spPr>
      </p:pic>
      <p:pic>
        <p:nvPicPr>
          <p:cNvPr id="25" name="Graphic 24" descr="Construction Barricade with solid fill">
            <a:extLst>
              <a:ext uri="{FF2B5EF4-FFF2-40B4-BE49-F238E27FC236}">
                <a16:creationId xmlns:a16="http://schemas.microsoft.com/office/drawing/2014/main" id="{9C1D7D46-4FA8-7DC1-395F-464BDA2E04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87053" y="5421613"/>
            <a:ext cx="360000" cy="360000"/>
          </a:xfrm>
          <a:prstGeom prst="rect">
            <a:avLst/>
          </a:prstGeom>
        </p:spPr>
      </p:pic>
      <p:pic>
        <p:nvPicPr>
          <p:cNvPr id="26" name="Graphic 25" descr="Construction Barricade with solid fill">
            <a:extLst>
              <a:ext uri="{FF2B5EF4-FFF2-40B4-BE49-F238E27FC236}">
                <a16:creationId xmlns:a16="http://schemas.microsoft.com/office/drawing/2014/main" id="{FCA4BFCD-C519-B510-35DE-F18D7AEDE1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87053" y="5840549"/>
            <a:ext cx="360000" cy="360000"/>
          </a:xfrm>
          <a:prstGeom prst="rect">
            <a:avLst/>
          </a:prstGeom>
        </p:spPr>
      </p:pic>
      <p:graphicFrame>
        <p:nvGraphicFramePr>
          <p:cNvPr id="27" name="Table 26">
            <a:extLst>
              <a:ext uri="{FF2B5EF4-FFF2-40B4-BE49-F238E27FC236}">
                <a16:creationId xmlns:a16="http://schemas.microsoft.com/office/drawing/2014/main" id="{CC5D94D1-D39F-A795-8950-94BE5542875B}"/>
              </a:ext>
            </a:extLst>
          </p:cNvPr>
          <p:cNvGraphicFramePr>
            <a:graphicFrameLocks noGrp="1"/>
          </p:cNvGraphicFramePr>
          <p:nvPr>
            <p:extLst>
              <p:ext uri="{D42A27DB-BD31-4B8C-83A1-F6EECF244321}">
                <p14:modId xmlns:p14="http://schemas.microsoft.com/office/powerpoint/2010/main" val="1514529312"/>
              </p:ext>
            </p:extLst>
          </p:nvPr>
        </p:nvGraphicFramePr>
        <p:xfrm>
          <a:off x="528839" y="1252897"/>
          <a:ext cx="4920616" cy="5132130"/>
        </p:xfrm>
        <a:graphic>
          <a:graphicData uri="http://schemas.openxmlformats.org/drawingml/2006/table">
            <a:tbl>
              <a:tblPr/>
              <a:tblGrid>
                <a:gridCol w="1355379">
                  <a:extLst>
                    <a:ext uri="{9D8B030D-6E8A-4147-A177-3AD203B41FA5}">
                      <a16:colId xmlns:a16="http://schemas.microsoft.com/office/drawing/2014/main" val="311876413"/>
                    </a:ext>
                  </a:extLst>
                </a:gridCol>
                <a:gridCol w="1376218">
                  <a:extLst>
                    <a:ext uri="{9D8B030D-6E8A-4147-A177-3AD203B41FA5}">
                      <a16:colId xmlns:a16="http://schemas.microsoft.com/office/drawing/2014/main" val="2890493997"/>
                    </a:ext>
                  </a:extLst>
                </a:gridCol>
                <a:gridCol w="932049">
                  <a:extLst>
                    <a:ext uri="{9D8B030D-6E8A-4147-A177-3AD203B41FA5}">
                      <a16:colId xmlns:a16="http://schemas.microsoft.com/office/drawing/2014/main" val="390923586"/>
                    </a:ext>
                  </a:extLst>
                </a:gridCol>
                <a:gridCol w="1256970">
                  <a:extLst>
                    <a:ext uri="{9D8B030D-6E8A-4147-A177-3AD203B41FA5}">
                      <a16:colId xmlns:a16="http://schemas.microsoft.com/office/drawing/2014/main" val="1446343022"/>
                    </a:ext>
                  </a:extLst>
                </a:gridCol>
              </a:tblGrid>
              <a:tr h="221267">
                <a:tc>
                  <a:txBody>
                    <a:bodyPr/>
                    <a:lstStyle/>
                    <a:p>
                      <a:pPr algn="ctr" fontAlgn="ctr"/>
                      <a:r>
                        <a:rPr lang="en-GB" sz="1400" b="1" i="0" u="none" strike="noStrike" noProof="0" dirty="0">
                          <a:solidFill>
                            <a:srgbClr val="000000"/>
                          </a:solidFill>
                          <a:effectLst/>
                          <a:latin typeface="Maersk Headline" panose="00000500000000000000" pitchFamily="2" charset="0"/>
                        </a:rPr>
                        <a:t>Type of Sick F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B3E1"/>
                    </a:solidFill>
                  </a:tcPr>
                </a:tc>
                <a:tc>
                  <a:txBody>
                    <a:bodyPr/>
                    <a:lstStyle/>
                    <a:p>
                      <a:pPr algn="ctr" fontAlgn="ctr"/>
                      <a:r>
                        <a:rPr lang="en-GB" sz="1400" b="1" i="0" u="none" strike="noStrike" noProof="0" dirty="0">
                          <a:solidFill>
                            <a:srgbClr val="000000"/>
                          </a:solidFill>
                          <a:effectLst/>
                          <a:latin typeface="Maersk Headline" panose="00000500000000000000" pitchFamily="2" charset="0"/>
                        </a:rPr>
                        <a:t>Type of Sickn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B3E1"/>
                    </a:solidFill>
                  </a:tcPr>
                </a:tc>
                <a:tc>
                  <a:txBody>
                    <a:bodyPr/>
                    <a:lstStyle/>
                    <a:p>
                      <a:pPr algn="ctr" fontAlgn="ctr"/>
                      <a:r>
                        <a:rPr lang="en-GB" sz="1400" b="1" i="0" u="none" strike="noStrike" noProof="0" dirty="0">
                          <a:solidFill>
                            <a:srgbClr val="000000"/>
                          </a:solidFill>
                          <a:effectLst/>
                          <a:latin typeface="Maersk Headline" panose="00000500000000000000" pitchFamily="2" charset="0"/>
                        </a:rPr>
                        <a:t>CW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B3E1"/>
                    </a:solidFill>
                  </a:tcPr>
                </a:tc>
                <a:tc>
                  <a:txBody>
                    <a:bodyPr/>
                    <a:lstStyle/>
                    <a:p>
                      <a:pPr algn="ctr" fontAlgn="ctr"/>
                      <a:r>
                        <a:rPr lang="en-GB" sz="1400" b="1" i="0" u="none" strike="noStrike" noProof="0" dirty="0">
                          <a:solidFill>
                            <a:srgbClr val="000000"/>
                          </a:solidFill>
                          <a:effectLst/>
                          <a:latin typeface="Maersk Headline" panose="00000500000000000000" pitchFamily="2" charset="0"/>
                        </a:rPr>
                        <a:t>File Healer Ap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B3E1"/>
                    </a:solidFill>
                  </a:tcPr>
                </a:tc>
                <a:extLst>
                  <a:ext uri="{0D108BD9-81ED-4DB2-BD59-A6C34878D82A}">
                    <a16:rowId xmlns:a16="http://schemas.microsoft.com/office/drawing/2014/main" val="1021351451"/>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Operatio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0" i="0" u="none" strike="noStrike" noProof="0" dirty="0">
                          <a:solidFill>
                            <a:srgbClr val="000000"/>
                          </a:solidFill>
                          <a:effectLst/>
                          <a:latin typeface="Maersk Headline" panose="00000500000000000000" pitchFamily="2" charset="0"/>
                        </a:rPr>
                        <a:t>Missing Export Mileston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n-lt"/>
                        </a:rPr>
                        <a:t>Data ga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3131826"/>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Operatio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0" i="0" u="none" strike="noStrike" noProof="0" dirty="0">
                          <a:solidFill>
                            <a:srgbClr val="000000"/>
                          </a:solidFill>
                          <a:effectLst/>
                          <a:latin typeface="Maersk Headline" panose="00000500000000000000" pitchFamily="2" charset="0"/>
                        </a:rPr>
                        <a:t>Missing Import Mileston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n-lt"/>
                        </a:rPr>
                        <a:t>Data ga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0862498"/>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Empty Job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1535961"/>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Missing Re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2669579"/>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Missing Cos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1927057"/>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Vendor Dispu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7973559"/>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Unbilled Reven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3705785"/>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Pending IC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4114210"/>
                  </a:ext>
                </a:extLst>
              </a:tr>
              <a:tr h="369142">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Pending Soft Closure &gt;7 day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2919279"/>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Pending Hard Closure &gt;75 day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5443730"/>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Financi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buNone/>
                      </a:pPr>
                      <a:r>
                        <a:rPr lang="en-GB" sz="1200" b="0" i="0" u="none" strike="noStrike" kern="1200" noProof="0" dirty="0">
                          <a:solidFill>
                            <a:srgbClr val="000000"/>
                          </a:solidFill>
                          <a:effectLst/>
                          <a:latin typeface="Maersk Headline" panose="00000500000000000000" pitchFamily="2" charset="0"/>
                          <a:ea typeface="+mn-ea"/>
                          <a:cs typeface="+mn-cs"/>
                        </a:rPr>
                        <a:t>Open Cost &gt;60 day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1200" b="1" i="0" u="none" strike="noStrike" noProof="0" dirty="0">
                          <a:solidFill>
                            <a:srgbClr val="000000"/>
                          </a:solidFill>
                          <a:effectLst/>
                          <a:latin typeface="Maersk Headline" panose="00000500000000000000" pitchFamily="2" charset="0"/>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n-lt"/>
                        </a:rPr>
                        <a:t>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7727693"/>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Summar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aersk Headline" panose="00000500000000000000" pitchFamily="2" charset="0"/>
                        </a:rPr>
                        <a:t>Overall Operational Sick Fil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C00000"/>
                          </a:solidFill>
                          <a:effectLst/>
                          <a:latin typeface="Maersk Headline" panose="00000500000000000000" pitchFamily="2"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GB"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4614004"/>
                  </a:ext>
                </a:extLst>
              </a:tr>
              <a:tr h="377830">
                <a:tc>
                  <a:txBody>
                    <a:bodyPr/>
                    <a:lstStyle/>
                    <a:p>
                      <a:pPr algn="ctr" fontAlgn="ctr"/>
                      <a:r>
                        <a:rPr lang="en-GB" sz="1200" b="1" i="0" u="none" strike="noStrike" noProof="0" dirty="0">
                          <a:solidFill>
                            <a:srgbClr val="000000"/>
                          </a:solidFill>
                          <a:effectLst/>
                          <a:latin typeface="Maersk Headline" panose="00000500000000000000" pitchFamily="2" charset="0"/>
                        </a:rPr>
                        <a:t>Summar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000000"/>
                          </a:solidFill>
                          <a:effectLst/>
                          <a:latin typeface="Maersk Headline" panose="00000500000000000000" pitchFamily="2" charset="0"/>
                        </a:rPr>
                        <a:t>Overall Financial Sick Fil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i="0" u="none" strike="noStrike" noProof="0" dirty="0">
                          <a:solidFill>
                            <a:srgbClr val="C00000"/>
                          </a:solidFill>
                          <a:effectLst/>
                          <a:latin typeface="Maersk Headline" panose="00000500000000000000" pitchFamily="2" charset="0"/>
                        </a:rPr>
                        <a:t>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GB" sz="1200" b="1" i="0" u="none" strike="noStrike" noProof="0" dirty="0">
                        <a:solidFill>
                          <a:srgbClr val="000000"/>
                        </a:solidFill>
                        <a:effectLst/>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0721893"/>
                  </a:ext>
                </a:extLst>
              </a:tr>
            </a:tbl>
          </a:graphicData>
        </a:graphic>
      </p:graphicFrame>
      <p:sp>
        <p:nvSpPr>
          <p:cNvPr id="28" name="TextBox 27">
            <a:extLst>
              <a:ext uri="{FF2B5EF4-FFF2-40B4-BE49-F238E27FC236}">
                <a16:creationId xmlns:a16="http://schemas.microsoft.com/office/drawing/2014/main" id="{176D2EAB-026F-A618-A94A-4DC809AAAB42}"/>
              </a:ext>
            </a:extLst>
          </p:cNvPr>
          <p:cNvSpPr txBox="1"/>
          <p:nvPr/>
        </p:nvSpPr>
        <p:spPr>
          <a:xfrm>
            <a:off x="1782618" y="6438706"/>
            <a:ext cx="3759362" cy="200055"/>
          </a:xfrm>
          <a:prstGeom prst="rect">
            <a:avLst/>
          </a:prstGeom>
          <a:noFill/>
        </p:spPr>
        <p:txBody>
          <a:bodyPr wrap="none" rtlCol="0">
            <a:spAutoFit/>
          </a:bodyPr>
          <a:lstStyle/>
          <a:p>
            <a:r>
              <a:rPr lang="en-US" sz="700" dirty="0">
                <a:latin typeface="Maersk Headline" panose="00000500000000000000" pitchFamily="2" charset="0"/>
              </a:rPr>
              <a:t>*Enabling customized filtering is essential to avoid the development of multiple logic layers</a:t>
            </a:r>
            <a:endParaRPr lang="en-NL" sz="700" dirty="0">
              <a:latin typeface="Maersk Headline" panose="00000500000000000000" pitchFamily="2" charset="0"/>
            </a:endParaRPr>
          </a:p>
        </p:txBody>
      </p:sp>
      <p:pic>
        <p:nvPicPr>
          <p:cNvPr id="29" name="Graphic 28" descr="Construction Barricade with solid fill">
            <a:extLst>
              <a:ext uri="{FF2B5EF4-FFF2-40B4-BE49-F238E27FC236}">
                <a16:creationId xmlns:a16="http://schemas.microsoft.com/office/drawing/2014/main" id="{6B7B5C9C-1A91-CD50-A545-058B7A7727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03671" y="5641258"/>
            <a:ext cx="360000" cy="360000"/>
          </a:xfrm>
          <a:prstGeom prst="rect">
            <a:avLst/>
          </a:prstGeom>
        </p:spPr>
      </p:pic>
      <p:pic>
        <p:nvPicPr>
          <p:cNvPr id="30" name="Graphic 29" descr="Construction Barricade with solid fill">
            <a:extLst>
              <a:ext uri="{FF2B5EF4-FFF2-40B4-BE49-F238E27FC236}">
                <a16:creationId xmlns:a16="http://schemas.microsoft.com/office/drawing/2014/main" id="{173B7519-8C25-466B-B6E5-D5718E8D25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07196" y="6001258"/>
            <a:ext cx="360000" cy="360000"/>
          </a:xfrm>
          <a:prstGeom prst="rect">
            <a:avLst/>
          </a:prstGeom>
        </p:spPr>
      </p:pic>
    </p:spTree>
    <p:extLst>
      <p:ext uri="{BB962C8B-B14F-4D97-AF65-F5344CB8AC3E}">
        <p14:creationId xmlns:p14="http://schemas.microsoft.com/office/powerpoint/2010/main" val="13460279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9EE80-F045-AC07-4372-4DF59819E1D9}"/>
            </a:ext>
          </a:extLst>
        </p:cNvPr>
        <p:cNvGrpSpPr/>
        <p:nvPr/>
      </p:nvGrpSpPr>
      <p:grpSpPr>
        <a:xfrm>
          <a:off x="0" y="0"/>
          <a:ext cx="0" cy="0"/>
          <a:chOff x="0" y="0"/>
          <a:chExt cx="0" cy="0"/>
        </a:xfrm>
      </p:grpSpPr>
      <p:sp>
        <p:nvSpPr>
          <p:cNvPr id="41" name="Content Placeholder 2">
            <a:extLst>
              <a:ext uri="{FF2B5EF4-FFF2-40B4-BE49-F238E27FC236}">
                <a16:creationId xmlns:a16="http://schemas.microsoft.com/office/drawing/2014/main" id="{AD5C9B3E-E5D5-8A9B-1A6A-11C4E42C0244}"/>
              </a:ext>
            </a:extLst>
          </p:cNvPr>
          <p:cNvSpPr txBox="1">
            <a:spLocks/>
          </p:cNvSpPr>
          <p:nvPr/>
        </p:nvSpPr>
        <p:spPr>
          <a:xfrm>
            <a:off x="8247888" y="4612866"/>
            <a:ext cx="3178344" cy="1543552"/>
          </a:xfrm>
          <a:prstGeom prst="roundRect">
            <a:avLst>
              <a:gd name="adj" fmla="val 1980"/>
            </a:avLst>
          </a:prstGeom>
          <a:solidFill>
            <a:schemeClr val="tx1">
              <a:lumMod val="10000"/>
              <a:lumOff val="90000"/>
            </a:schemeClr>
          </a:solid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a:lstStyle>
          <a:p>
            <a:pPr marL="0" indent="0">
              <a:buFont typeface="Arial" panose="020B0604020202020204" pitchFamily="34" charset="0"/>
              <a:buNone/>
            </a:pPr>
            <a:endParaRPr lang="en-001" sz="400" dirty="0">
              <a:solidFill>
                <a:schemeClr val="accent1"/>
              </a:solidFill>
              <a:latin typeface="+mj-lt"/>
            </a:endParaRPr>
          </a:p>
        </p:txBody>
      </p:sp>
      <p:sp>
        <p:nvSpPr>
          <p:cNvPr id="3" name="Date Placeholder 2">
            <a:extLst>
              <a:ext uri="{FF2B5EF4-FFF2-40B4-BE49-F238E27FC236}">
                <a16:creationId xmlns:a16="http://schemas.microsoft.com/office/drawing/2014/main" id="{54CA7824-7F99-062B-142F-767E18C430E7}"/>
              </a:ext>
            </a:extLst>
          </p:cNvPr>
          <p:cNvSpPr>
            <a:spLocks noGrp="1"/>
          </p:cNvSpPr>
          <p:nvPr>
            <p:ph type="dt" sz="half" idx="10"/>
          </p:nvPr>
        </p:nvSpPr>
        <p:spPr>
          <a:xfrm>
            <a:off x="36576" y="6702552"/>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 b="0" i="0" u="none" strike="noStrike" kern="1200" cap="none" spc="0" normalizeH="0" baseline="0" noProof="0">
              <a:ln>
                <a:noFill/>
              </a:ln>
              <a:noFill/>
              <a:effectLst/>
              <a:uLnTx/>
              <a:uFillTx/>
              <a:latin typeface="Maersk Text"/>
              <a:ea typeface="+mn-ea"/>
              <a:cs typeface="+mn-cs"/>
            </a:endParaRPr>
          </a:p>
        </p:txBody>
      </p:sp>
      <p:sp>
        <p:nvSpPr>
          <p:cNvPr id="7" name="Title 1">
            <a:extLst>
              <a:ext uri="{FF2B5EF4-FFF2-40B4-BE49-F238E27FC236}">
                <a16:creationId xmlns:a16="http://schemas.microsoft.com/office/drawing/2014/main" id="{2F7B087E-889F-CB9E-39E5-EC5AA6FAACFB}"/>
              </a:ext>
            </a:extLst>
          </p:cNvPr>
          <p:cNvSpPr txBox="1">
            <a:spLocks/>
          </p:cNvSpPr>
          <p:nvPr/>
        </p:nvSpPr>
        <p:spPr>
          <a:xfrm>
            <a:off x="371475" y="323228"/>
            <a:ext cx="11675745" cy="93027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141414"/>
                </a:solidFill>
                <a:effectLst/>
                <a:uLnTx/>
                <a:uFillTx/>
                <a:latin typeface="Maersk Headline Light"/>
                <a:ea typeface="+mj-ea"/>
                <a:cs typeface="+mj-cs"/>
              </a:rPr>
              <a:t>The voice of</a:t>
            </a:r>
            <a:r>
              <a:rPr lang="en-US" sz="3200" dirty="0">
                <a:solidFill>
                  <a:srgbClr val="42B0D5"/>
                </a:solidFill>
                <a:latin typeface="Maersk Headline Light"/>
              </a:rPr>
              <a:t> </a:t>
            </a:r>
            <a:r>
              <a:rPr kumimoji="0" lang="en-US" sz="3200" b="0" i="0" u="none" strike="noStrike" kern="1200" cap="none" spc="0" normalizeH="0" baseline="0" noProof="0" dirty="0">
                <a:ln>
                  <a:noFill/>
                </a:ln>
                <a:solidFill>
                  <a:srgbClr val="42B0D5"/>
                </a:solidFill>
                <a:effectLst/>
                <a:uLnTx/>
                <a:uFillTx/>
                <a:latin typeface="Maersk Headline Light"/>
                <a:ea typeface="+mj-ea"/>
                <a:cs typeface="+mj-cs"/>
              </a:rPr>
              <a:t>our Customer</a:t>
            </a:r>
          </a:p>
        </p:txBody>
      </p:sp>
      <p:sp>
        <p:nvSpPr>
          <p:cNvPr id="2" name="TextBox 1">
            <a:extLst>
              <a:ext uri="{FF2B5EF4-FFF2-40B4-BE49-F238E27FC236}">
                <a16:creationId xmlns:a16="http://schemas.microsoft.com/office/drawing/2014/main" id="{A4647DD9-AC18-3FCE-06E5-1F70027C72E0}"/>
              </a:ext>
            </a:extLst>
          </p:cNvPr>
          <p:cNvSpPr txBox="1"/>
          <p:nvPr/>
        </p:nvSpPr>
        <p:spPr>
          <a:xfrm>
            <a:off x="2132298" y="2365307"/>
            <a:ext cx="2412000"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How confident are you in identifying the type of sickness overall </a:t>
            </a:r>
            <a:endParaRPr lang="en-NL" sz="800" b="0" dirty="0">
              <a:solidFill>
                <a:schemeClr val="bg1"/>
              </a:solidFill>
              <a:latin typeface="Maersk Text" panose="00000500000000000000" pitchFamily="2" charset="0"/>
            </a:endParaRPr>
          </a:p>
        </p:txBody>
      </p:sp>
      <p:sp>
        <p:nvSpPr>
          <p:cNvPr id="15" name="TextBox 14">
            <a:extLst>
              <a:ext uri="{FF2B5EF4-FFF2-40B4-BE49-F238E27FC236}">
                <a16:creationId xmlns:a16="http://schemas.microsoft.com/office/drawing/2014/main" id="{66F99685-EB49-DC05-6988-898F6C7E4AFC}"/>
              </a:ext>
            </a:extLst>
          </p:cNvPr>
          <p:cNvSpPr txBox="1"/>
          <p:nvPr/>
        </p:nvSpPr>
        <p:spPr>
          <a:xfrm>
            <a:off x="205086" y="2365307"/>
            <a:ext cx="1800000"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Do you understand the logic and concept of Sick Files?</a:t>
            </a:r>
            <a:endParaRPr lang="en-NL" sz="800" b="0" dirty="0">
              <a:solidFill>
                <a:schemeClr val="bg1"/>
              </a:solidFill>
              <a:latin typeface="Maersk Text" panose="00000500000000000000" pitchFamily="2" charset="0"/>
            </a:endParaRPr>
          </a:p>
        </p:txBody>
      </p:sp>
      <p:sp>
        <p:nvSpPr>
          <p:cNvPr id="28" name="TextBox 27">
            <a:extLst>
              <a:ext uri="{FF2B5EF4-FFF2-40B4-BE49-F238E27FC236}">
                <a16:creationId xmlns:a16="http://schemas.microsoft.com/office/drawing/2014/main" id="{42FB67D2-94F7-9CC5-85F9-2DD166EBF4C0}"/>
              </a:ext>
            </a:extLst>
          </p:cNvPr>
          <p:cNvSpPr txBox="1"/>
          <p:nvPr/>
        </p:nvSpPr>
        <p:spPr>
          <a:xfrm>
            <a:off x="205086" y="4073265"/>
            <a:ext cx="2484000" cy="215444"/>
          </a:xfrm>
          <a:prstGeom prst="rect">
            <a:avLst/>
          </a:prstGeom>
          <a:solidFill>
            <a:srgbClr val="C00000"/>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Where do you "fix" the Sick Files?</a:t>
            </a:r>
            <a:endParaRPr lang="en-NL" sz="800" b="0" dirty="0"/>
          </a:p>
        </p:txBody>
      </p:sp>
      <p:sp>
        <p:nvSpPr>
          <p:cNvPr id="30" name="TextBox 29">
            <a:extLst>
              <a:ext uri="{FF2B5EF4-FFF2-40B4-BE49-F238E27FC236}">
                <a16:creationId xmlns:a16="http://schemas.microsoft.com/office/drawing/2014/main" id="{FFE2E7E1-2EC6-9B94-A6F7-2978FC16515A}"/>
              </a:ext>
            </a:extLst>
          </p:cNvPr>
          <p:cNvSpPr txBox="1"/>
          <p:nvPr/>
        </p:nvSpPr>
        <p:spPr>
          <a:xfrm>
            <a:off x="4675478" y="2365306"/>
            <a:ext cx="2520000"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How often do you use Sick Files in CW1 when managing shipments?</a:t>
            </a:r>
            <a:endParaRPr lang="en-NL" sz="800" b="0" dirty="0">
              <a:solidFill>
                <a:schemeClr val="bg1"/>
              </a:solidFill>
              <a:latin typeface="Maersk Text" panose="00000500000000000000" pitchFamily="2" charset="0"/>
            </a:endParaRPr>
          </a:p>
        </p:txBody>
      </p:sp>
      <p:sp>
        <p:nvSpPr>
          <p:cNvPr id="33" name="TextBox 32">
            <a:extLst>
              <a:ext uri="{FF2B5EF4-FFF2-40B4-BE49-F238E27FC236}">
                <a16:creationId xmlns:a16="http://schemas.microsoft.com/office/drawing/2014/main" id="{1CF9C50F-C431-CAB4-2B46-93FBF33A1BA9}"/>
              </a:ext>
            </a:extLst>
          </p:cNvPr>
          <p:cNvSpPr txBox="1"/>
          <p:nvPr/>
        </p:nvSpPr>
        <p:spPr>
          <a:xfrm>
            <a:off x="9798939" y="2365306"/>
            <a:ext cx="2156236"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Since the introduction of Sick Files, has visibility of pending milestones improved?</a:t>
            </a:r>
            <a:endParaRPr lang="en-NL" sz="800" b="0" dirty="0">
              <a:solidFill>
                <a:schemeClr val="bg1"/>
              </a:solidFill>
              <a:latin typeface="Maersk Text" panose="00000500000000000000" pitchFamily="2" charset="0"/>
            </a:endParaRPr>
          </a:p>
        </p:txBody>
      </p:sp>
      <p:sp>
        <p:nvSpPr>
          <p:cNvPr id="13" name="TextBox 12">
            <a:extLst>
              <a:ext uri="{FF2B5EF4-FFF2-40B4-BE49-F238E27FC236}">
                <a16:creationId xmlns:a16="http://schemas.microsoft.com/office/drawing/2014/main" id="{45E33BED-35D1-F42C-DBD7-113286DD5B19}"/>
              </a:ext>
            </a:extLst>
          </p:cNvPr>
          <p:cNvSpPr txBox="1"/>
          <p:nvPr/>
        </p:nvSpPr>
        <p:spPr>
          <a:xfrm>
            <a:off x="8340878" y="4690446"/>
            <a:ext cx="1338849" cy="246221"/>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b="0" dirty="0"/>
              <a:t>Roles</a:t>
            </a:r>
            <a:endParaRPr lang="en-NL" b="0" dirty="0">
              <a:solidFill>
                <a:schemeClr val="bg1"/>
              </a:solidFill>
              <a:latin typeface="Maersk Text" panose="00000500000000000000" pitchFamily="2" charset="0"/>
            </a:endParaRPr>
          </a:p>
        </p:txBody>
      </p:sp>
      <p:sp>
        <p:nvSpPr>
          <p:cNvPr id="14" name="TextBox 13">
            <a:extLst>
              <a:ext uri="{FF2B5EF4-FFF2-40B4-BE49-F238E27FC236}">
                <a16:creationId xmlns:a16="http://schemas.microsoft.com/office/drawing/2014/main" id="{29AE5045-F7EA-ACC6-2290-B006453F9094}"/>
              </a:ext>
            </a:extLst>
          </p:cNvPr>
          <p:cNvSpPr txBox="1"/>
          <p:nvPr/>
        </p:nvSpPr>
        <p:spPr>
          <a:xfrm>
            <a:off x="9916279" y="4061288"/>
            <a:ext cx="1836000"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We discuss Sick Files during our MOS or team huddles</a:t>
            </a:r>
            <a:endParaRPr lang="en-NL" sz="800" b="0" dirty="0">
              <a:solidFill>
                <a:schemeClr val="bg1"/>
              </a:solidFill>
              <a:latin typeface="Maersk Text" panose="00000500000000000000" pitchFamily="2" charset="0"/>
            </a:endParaRPr>
          </a:p>
        </p:txBody>
      </p:sp>
      <p:sp>
        <p:nvSpPr>
          <p:cNvPr id="20" name="TextBox 19">
            <a:extLst>
              <a:ext uri="{FF2B5EF4-FFF2-40B4-BE49-F238E27FC236}">
                <a16:creationId xmlns:a16="http://schemas.microsoft.com/office/drawing/2014/main" id="{F50C3A5C-2F2C-8CDA-DEAA-3A8AED162A92}"/>
              </a:ext>
            </a:extLst>
          </p:cNvPr>
          <p:cNvSpPr txBox="1"/>
          <p:nvPr/>
        </p:nvSpPr>
        <p:spPr>
          <a:xfrm>
            <a:off x="7299226" y="2365307"/>
            <a:ext cx="2412000"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How often do you use the File Healer App to review Sick Files?</a:t>
            </a:r>
            <a:endParaRPr lang="en-NL" sz="800" b="0" dirty="0">
              <a:solidFill>
                <a:schemeClr val="bg1"/>
              </a:solidFill>
              <a:latin typeface="Maersk Text" panose="00000500000000000000" pitchFamily="2" charset="0"/>
            </a:endParaRPr>
          </a:p>
        </p:txBody>
      </p:sp>
      <p:sp>
        <p:nvSpPr>
          <p:cNvPr id="34" name="TextBox 33">
            <a:extLst>
              <a:ext uri="{FF2B5EF4-FFF2-40B4-BE49-F238E27FC236}">
                <a16:creationId xmlns:a16="http://schemas.microsoft.com/office/drawing/2014/main" id="{93F3FB4F-4402-556B-84F4-30A51D61CDCC}"/>
              </a:ext>
            </a:extLst>
          </p:cNvPr>
          <p:cNvSpPr txBox="1"/>
          <p:nvPr/>
        </p:nvSpPr>
        <p:spPr>
          <a:xfrm>
            <a:off x="2783095" y="4062693"/>
            <a:ext cx="2156236"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The CW1 Sick Files filter in CW1 provide me with clear visibility on Invoicing backlogs</a:t>
            </a:r>
            <a:endParaRPr lang="en-NL" sz="800" b="0" dirty="0">
              <a:solidFill>
                <a:schemeClr val="bg1"/>
              </a:solidFill>
              <a:latin typeface="Maersk Text" panose="00000500000000000000" pitchFamily="2" charset="0"/>
            </a:endParaRPr>
          </a:p>
        </p:txBody>
      </p:sp>
      <p:sp>
        <p:nvSpPr>
          <p:cNvPr id="35" name="TextBox 34">
            <a:extLst>
              <a:ext uri="{FF2B5EF4-FFF2-40B4-BE49-F238E27FC236}">
                <a16:creationId xmlns:a16="http://schemas.microsoft.com/office/drawing/2014/main" id="{0D72F69A-C629-B7CE-FE7F-E1FD66C889CC}"/>
              </a:ext>
            </a:extLst>
          </p:cNvPr>
          <p:cNvSpPr txBox="1"/>
          <p:nvPr/>
        </p:nvSpPr>
        <p:spPr>
          <a:xfrm>
            <a:off x="3932300" y="6131948"/>
            <a:ext cx="3907939"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What prevents you from using Sick Files filters in CW1 and File Healer App more consistently?</a:t>
            </a:r>
            <a:endParaRPr lang="en-NL" sz="800" b="0" dirty="0"/>
          </a:p>
        </p:txBody>
      </p:sp>
      <p:sp>
        <p:nvSpPr>
          <p:cNvPr id="36" name="TextBox 35">
            <a:extLst>
              <a:ext uri="{FF2B5EF4-FFF2-40B4-BE49-F238E27FC236}">
                <a16:creationId xmlns:a16="http://schemas.microsoft.com/office/drawing/2014/main" id="{EF09BB6B-7F28-AFFF-0538-D0CF7864F3DC}"/>
              </a:ext>
            </a:extLst>
          </p:cNvPr>
          <p:cNvSpPr txBox="1"/>
          <p:nvPr/>
        </p:nvSpPr>
        <p:spPr>
          <a:xfrm>
            <a:off x="4997359" y="4064121"/>
            <a:ext cx="2668052"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How satisfied are you with the Sick Files tools for identifying and addressing backlogs in your workflow?</a:t>
            </a:r>
            <a:endParaRPr lang="en-NL" sz="800" b="0" dirty="0">
              <a:solidFill>
                <a:schemeClr val="bg1"/>
              </a:solidFill>
              <a:latin typeface="Maersk Text" panose="00000500000000000000" pitchFamily="2" charset="0"/>
            </a:endParaRPr>
          </a:p>
        </p:txBody>
      </p:sp>
      <p:sp>
        <p:nvSpPr>
          <p:cNvPr id="37" name="TextBox 36">
            <a:extLst>
              <a:ext uri="{FF2B5EF4-FFF2-40B4-BE49-F238E27FC236}">
                <a16:creationId xmlns:a16="http://schemas.microsoft.com/office/drawing/2014/main" id="{D743112A-1103-4426-E0F4-920865D5A4DE}"/>
              </a:ext>
            </a:extLst>
          </p:cNvPr>
          <p:cNvSpPr txBox="1"/>
          <p:nvPr/>
        </p:nvSpPr>
        <p:spPr>
          <a:xfrm>
            <a:off x="205086" y="6131948"/>
            <a:ext cx="3635394"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What change or improvement would help you and your team adopt Sick Files more effectively?</a:t>
            </a:r>
          </a:p>
        </p:txBody>
      </p:sp>
      <p:sp>
        <p:nvSpPr>
          <p:cNvPr id="40" name="TextBox 39">
            <a:extLst>
              <a:ext uri="{FF2B5EF4-FFF2-40B4-BE49-F238E27FC236}">
                <a16:creationId xmlns:a16="http://schemas.microsoft.com/office/drawing/2014/main" id="{B0A41CD7-914A-E82C-4572-BE86FC9FB363}"/>
              </a:ext>
            </a:extLst>
          </p:cNvPr>
          <p:cNvSpPr txBox="1"/>
          <p:nvPr/>
        </p:nvSpPr>
        <p:spPr>
          <a:xfrm>
            <a:off x="9737016" y="4690446"/>
            <a:ext cx="798415" cy="246221"/>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b="0" i="0" strike="noStrike" dirty="0">
                <a:solidFill>
                  <a:schemeClr val="bg1"/>
                </a:solidFill>
                <a:effectLst/>
                <a:latin typeface="Maersk Text" panose="00000500000000000000" pitchFamily="2" charset="0"/>
              </a:rPr>
              <a:t>Product</a:t>
            </a:r>
            <a:endParaRPr lang="en-NL" b="0" dirty="0">
              <a:solidFill>
                <a:schemeClr val="bg1"/>
              </a:solidFill>
              <a:latin typeface="Maersk Text" panose="00000500000000000000" pitchFamily="2" charset="0"/>
            </a:endParaRPr>
          </a:p>
        </p:txBody>
      </p:sp>
      <p:graphicFrame>
        <p:nvGraphicFramePr>
          <p:cNvPr id="58" name="Chart 57">
            <a:extLst>
              <a:ext uri="{FF2B5EF4-FFF2-40B4-BE49-F238E27FC236}">
                <a16:creationId xmlns:a16="http://schemas.microsoft.com/office/drawing/2014/main" id="{6F8E33B8-1E37-B606-F10B-DD31A7CF57AA}"/>
              </a:ext>
            </a:extLst>
          </p:cNvPr>
          <p:cNvGraphicFramePr>
            <a:graphicFrameLocks/>
          </p:cNvGraphicFramePr>
          <p:nvPr>
            <p:extLst>
              <p:ext uri="{D42A27DB-BD31-4B8C-83A1-F6EECF244321}">
                <p14:modId xmlns:p14="http://schemas.microsoft.com/office/powerpoint/2010/main" val="4271495204"/>
              </p:ext>
            </p:extLst>
          </p:nvPr>
        </p:nvGraphicFramePr>
        <p:xfrm>
          <a:off x="135663" y="900558"/>
          <a:ext cx="1872000" cy="1440000"/>
        </p:xfrm>
        <a:graphic>
          <a:graphicData uri="http://schemas.openxmlformats.org/drawingml/2006/chart">
            <c:chart xmlns:c="http://schemas.openxmlformats.org/drawingml/2006/chart" xmlns:r="http://schemas.openxmlformats.org/officeDocument/2006/relationships" r:id="rId2"/>
          </a:graphicData>
        </a:graphic>
      </p:graphicFrame>
      <p:sp>
        <p:nvSpPr>
          <p:cNvPr id="59" name="TextBox 58">
            <a:extLst>
              <a:ext uri="{FF2B5EF4-FFF2-40B4-BE49-F238E27FC236}">
                <a16:creationId xmlns:a16="http://schemas.microsoft.com/office/drawing/2014/main" id="{42575B08-A60A-1192-5BBE-2BFBABA9CCD7}"/>
              </a:ext>
            </a:extLst>
          </p:cNvPr>
          <p:cNvSpPr txBox="1"/>
          <p:nvPr/>
        </p:nvSpPr>
        <p:spPr>
          <a:xfrm>
            <a:off x="10574628" y="4690447"/>
            <a:ext cx="765547" cy="246221"/>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b="0" i="0" strike="noStrike" dirty="0">
                <a:solidFill>
                  <a:schemeClr val="bg1"/>
                </a:solidFill>
                <a:effectLst/>
                <a:latin typeface="Maersk Text" panose="00000500000000000000" pitchFamily="2" charset="0"/>
              </a:rPr>
              <a:t>Region</a:t>
            </a:r>
            <a:endParaRPr lang="en-NL" b="0" dirty="0">
              <a:solidFill>
                <a:schemeClr val="bg1"/>
              </a:solidFill>
              <a:latin typeface="Maersk Text" panose="00000500000000000000" pitchFamily="2" charset="0"/>
            </a:endParaRPr>
          </a:p>
        </p:txBody>
      </p:sp>
      <p:graphicFrame>
        <p:nvGraphicFramePr>
          <p:cNvPr id="60" name="Chart 59">
            <a:extLst>
              <a:ext uri="{FF2B5EF4-FFF2-40B4-BE49-F238E27FC236}">
                <a16:creationId xmlns:a16="http://schemas.microsoft.com/office/drawing/2014/main" id="{F282F872-3FB0-F38F-EAD6-ADEFFF109618}"/>
              </a:ext>
            </a:extLst>
          </p:cNvPr>
          <p:cNvGraphicFramePr>
            <a:graphicFrameLocks/>
          </p:cNvGraphicFramePr>
          <p:nvPr>
            <p:extLst>
              <p:ext uri="{D42A27DB-BD31-4B8C-83A1-F6EECF244321}">
                <p14:modId xmlns:p14="http://schemas.microsoft.com/office/powerpoint/2010/main" val="533132181"/>
              </p:ext>
            </p:extLst>
          </p:nvPr>
        </p:nvGraphicFramePr>
        <p:xfrm>
          <a:off x="2040505" y="959406"/>
          <a:ext cx="2520000" cy="144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1" name="Chart 60">
            <a:extLst>
              <a:ext uri="{FF2B5EF4-FFF2-40B4-BE49-F238E27FC236}">
                <a16:creationId xmlns:a16="http://schemas.microsoft.com/office/drawing/2014/main" id="{4AA1E84B-B7F1-9588-C92A-4D19A20C2FC4}"/>
              </a:ext>
            </a:extLst>
          </p:cNvPr>
          <p:cNvGraphicFramePr>
            <a:graphicFrameLocks/>
          </p:cNvGraphicFramePr>
          <p:nvPr>
            <p:extLst>
              <p:ext uri="{D42A27DB-BD31-4B8C-83A1-F6EECF244321}">
                <p14:modId xmlns:p14="http://schemas.microsoft.com/office/powerpoint/2010/main" val="1952675940"/>
              </p:ext>
            </p:extLst>
          </p:nvPr>
        </p:nvGraphicFramePr>
        <p:xfrm>
          <a:off x="4618533" y="959406"/>
          <a:ext cx="2556000" cy="14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2" name="Chart 61">
            <a:extLst>
              <a:ext uri="{FF2B5EF4-FFF2-40B4-BE49-F238E27FC236}">
                <a16:creationId xmlns:a16="http://schemas.microsoft.com/office/drawing/2014/main" id="{BF5B8272-774A-65D1-270D-9F3DDAA510E1}"/>
              </a:ext>
            </a:extLst>
          </p:cNvPr>
          <p:cNvGraphicFramePr>
            <a:graphicFrameLocks/>
          </p:cNvGraphicFramePr>
          <p:nvPr>
            <p:extLst>
              <p:ext uri="{D42A27DB-BD31-4B8C-83A1-F6EECF244321}">
                <p14:modId xmlns:p14="http://schemas.microsoft.com/office/powerpoint/2010/main" val="508776603"/>
              </p:ext>
            </p:extLst>
          </p:nvPr>
        </p:nvGraphicFramePr>
        <p:xfrm>
          <a:off x="7178040" y="959406"/>
          <a:ext cx="2556000" cy="1440000"/>
        </p:xfrm>
        <a:graphic>
          <a:graphicData uri="http://schemas.openxmlformats.org/drawingml/2006/chart">
            <c:chart xmlns:c="http://schemas.openxmlformats.org/drawingml/2006/chart" xmlns:r="http://schemas.openxmlformats.org/officeDocument/2006/relationships" r:id="rId5"/>
          </a:graphicData>
        </a:graphic>
      </p:graphicFrame>
      <p:sp>
        <p:nvSpPr>
          <p:cNvPr id="64" name="TextBox 63">
            <a:extLst>
              <a:ext uri="{FF2B5EF4-FFF2-40B4-BE49-F238E27FC236}">
                <a16:creationId xmlns:a16="http://schemas.microsoft.com/office/drawing/2014/main" id="{7E91B16F-E5D3-438B-24D1-0EAED8348E67}"/>
              </a:ext>
            </a:extLst>
          </p:cNvPr>
          <p:cNvSpPr txBox="1"/>
          <p:nvPr/>
        </p:nvSpPr>
        <p:spPr>
          <a:xfrm>
            <a:off x="10166232" y="5792492"/>
            <a:ext cx="1260000" cy="307777"/>
          </a:xfrm>
          <a:prstGeom prst="rect">
            <a:avLst/>
          </a:prstGeom>
          <a:noFill/>
        </p:spPr>
        <p:txBody>
          <a:bodyPr wrap="square">
            <a:spAutoFit/>
          </a:bodyPr>
          <a:lstStyle/>
          <a:p>
            <a:pPr lvl="0" algn="ctr"/>
            <a:r>
              <a:rPr lang="en-US" sz="1400" b="1" i="0" dirty="0">
                <a:effectLst/>
                <a:latin typeface="+mj-lt"/>
              </a:rPr>
              <a:t>140 replies</a:t>
            </a:r>
            <a:endParaRPr lang="en-NL" sz="1400" dirty="0"/>
          </a:p>
        </p:txBody>
      </p:sp>
      <p:graphicFrame>
        <p:nvGraphicFramePr>
          <p:cNvPr id="66" name="Chart 65">
            <a:extLst>
              <a:ext uri="{FF2B5EF4-FFF2-40B4-BE49-F238E27FC236}">
                <a16:creationId xmlns:a16="http://schemas.microsoft.com/office/drawing/2014/main" id="{51BFDD37-E1F2-2D58-1BC6-E303D718A459}"/>
              </a:ext>
            </a:extLst>
          </p:cNvPr>
          <p:cNvGraphicFramePr>
            <a:graphicFrameLocks/>
          </p:cNvGraphicFramePr>
          <p:nvPr>
            <p:extLst>
              <p:ext uri="{D42A27DB-BD31-4B8C-83A1-F6EECF244321}">
                <p14:modId xmlns:p14="http://schemas.microsoft.com/office/powerpoint/2010/main" val="1770633002"/>
              </p:ext>
            </p:extLst>
          </p:nvPr>
        </p:nvGraphicFramePr>
        <p:xfrm>
          <a:off x="2924987" y="2661524"/>
          <a:ext cx="2264795" cy="129063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8" name="Chart 67">
            <a:extLst>
              <a:ext uri="{FF2B5EF4-FFF2-40B4-BE49-F238E27FC236}">
                <a16:creationId xmlns:a16="http://schemas.microsoft.com/office/drawing/2014/main" id="{EAF4FD97-87AF-BEA9-9157-ABB489DEFD0F}"/>
              </a:ext>
            </a:extLst>
          </p:cNvPr>
          <p:cNvGraphicFramePr>
            <a:graphicFrameLocks/>
          </p:cNvGraphicFramePr>
          <p:nvPr>
            <p:extLst>
              <p:ext uri="{D42A27DB-BD31-4B8C-83A1-F6EECF244321}">
                <p14:modId xmlns:p14="http://schemas.microsoft.com/office/powerpoint/2010/main" val="958285386"/>
              </p:ext>
            </p:extLst>
          </p:nvPr>
        </p:nvGraphicFramePr>
        <p:xfrm>
          <a:off x="9939093" y="2690813"/>
          <a:ext cx="1977111" cy="147637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9" name="Chart 68">
            <a:extLst>
              <a:ext uri="{FF2B5EF4-FFF2-40B4-BE49-F238E27FC236}">
                <a16:creationId xmlns:a16="http://schemas.microsoft.com/office/drawing/2014/main" id="{2E137810-6120-11BB-2C4E-39C4CAD17116}"/>
              </a:ext>
            </a:extLst>
          </p:cNvPr>
          <p:cNvGraphicFramePr>
            <a:graphicFrameLocks/>
          </p:cNvGraphicFramePr>
          <p:nvPr>
            <p:extLst>
              <p:ext uri="{D42A27DB-BD31-4B8C-83A1-F6EECF244321}">
                <p14:modId xmlns:p14="http://schemas.microsoft.com/office/powerpoint/2010/main" val="3034839261"/>
              </p:ext>
            </p:extLst>
          </p:nvPr>
        </p:nvGraphicFramePr>
        <p:xfrm>
          <a:off x="59443" y="2848379"/>
          <a:ext cx="2724149" cy="112395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0" name="Chart 69">
            <a:extLst>
              <a:ext uri="{FF2B5EF4-FFF2-40B4-BE49-F238E27FC236}">
                <a16:creationId xmlns:a16="http://schemas.microsoft.com/office/drawing/2014/main" id="{4E989532-4693-EF0F-78F8-963033E87FC4}"/>
              </a:ext>
            </a:extLst>
          </p:cNvPr>
          <p:cNvGraphicFramePr>
            <a:graphicFrameLocks/>
          </p:cNvGraphicFramePr>
          <p:nvPr>
            <p:extLst>
              <p:ext uri="{D42A27DB-BD31-4B8C-83A1-F6EECF244321}">
                <p14:modId xmlns:p14="http://schemas.microsoft.com/office/powerpoint/2010/main" val="3658826138"/>
              </p:ext>
            </p:extLst>
          </p:nvPr>
        </p:nvGraphicFramePr>
        <p:xfrm>
          <a:off x="9744075" y="884462"/>
          <a:ext cx="2447925" cy="153828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1" name="Chart 70">
            <a:extLst>
              <a:ext uri="{FF2B5EF4-FFF2-40B4-BE49-F238E27FC236}">
                <a16:creationId xmlns:a16="http://schemas.microsoft.com/office/drawing/2014/main" id="{500103CD-E07B-E77F-C4B5-A8B165D2B588}"/>
              </a:ext>
            </a:extLst>
          </p:cNvPr>
          <p:cNvGraphicFramePr>
            <a:graphicFrameLocks/>
          </p:cNvGraphicFramePr>
          <p:nvPr>
            <p:extLst>
              <p:ext uri="{D42A27DB-BD31-4B8C-83A1-F6EECF244321}">
                <p14:modId xmlns:p14="http://schemas.microsoft.com/office/powerpoint/2010/main" val="374408226"/>
              </p:ext>
            </p:extLst>
          </p:nvPr>
        </p:nvGraphicFramePr>
        <p:xfrm>
          <a:off x="5007135" y="2579667"/>
          <a:ext cx="2762250" cy="1548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2" name="Table 71">
            <a:extLst>
              <a:ext uri="{FF2B5EF4-FFF2-40B4-BE49-F238E27FC236}">
                <a16:creationId xmlns:a16="http://schemas.microsoft.com/office/drawing/2014/main" id="{625D3973-381B-6BA6-0237-281CB31CE821}"/>
              </a:ext>
            </a:extLst>
          </p:cNvPr>
          <p:cNvGraphicFramePr>
            <a:graphicFrameLocks noGrp="1"/>
          </p:cNvGraphicFramePr>
          <p:nvPr>
            <p:extLst>
              <p:ext uri="{D42A27DB-BD31-4B8C-83A1-F6EECF244321}">
                <p14:modId xmlns:p14="http://schemas.microsoft.com/office/powerpoint/2010/main" val="4016701682"/>
              </p:ext>
            </p:extLst>
          </p:nvPr>
        </p:nvGraphicFramePr>
        <p:xfrm>
          <a:off x="8340879" y="4983580"/>
          <a:ext cx="1338848" cy="1143000"/>
        </p:xfrm>
        <a:graphic>
          <a:graphicData uri="http://schemas.openxmlformats.org/drawingml/2006/table">
            <a:tbl>
              <a:tblPr>
                <a:tableStyleId>{D03447BB-5D67-496B-8E87-E561075AD55C}</a:tableStyleId>
              </a:tblPr>
              <a:tblGrid>
                <a:gridCol w="1031947">
                  <a:extLst>
                    <a:ext uri="{9D8B030D-6E8A-4147-A177-3AD203B41FA5}">
                      <a16:colId xmlns:a16="http://schemas.microsoft.com/office/drawing/2014/main" val="3432845825"/>
                    </a:ext>
                  </a:extLst>
                </a:gridCol>
                <a:gridCol w="306901">
                  <a:extLst>
                    <a:ext uri="{9D8B030D-6E8A-4147-A177-3AD203B41FA5}">
                      <a16:colId xmlns:a16="http://schemas.microsoft.com/office/drawing/2014/main" val="4143379580"/>
                    </a:ext>
                  </a:extLst>
                </a:gridCol>
              </a:tblGrid>
              <a:tr h="190500">
                <a:tc>
                  <a:txBody>
                    <a:bodyPr/>
                    <a:lstStyle/>
                    <a:p>
                      <a:pPr algn="l" fontAlgn="b">
                        <a:buNone/>
                      </a:pPr>
                      <a:r>
                        <a:rPr lang="es-AR" sz="900" u="none" strike="noStrike" dirty="0">
                          <a:effectLst/>
                        </a:rPr>
                        <a:t>Operations Staff</a:t>
                      </a:r>
                      <a:endParaRPr lang="es-AR" sz="9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bg1"/>
                      </a:solidFill>
                      <a:prstDash val="sysDash"/>
                      <a:round/>
                      <a:headEnd type="none" w="med" len="med"/>
                      <a:tailEnd type="none" w="med" len="med"/>
                    </a:lnR>
                    <a:lnB w="12700" cap="flat" cmpd="sng" algn="ctr">
                      <a:solidFill>
                        <a:schemeClr val="bg1"/>
                      </a:solidFill>
                      <a:prstDash val="sysDash"/>
                      <a:round/>
                      <a:headEnd type="none" w="med" len="med"/>
                      <a:tailEnd type="none" w="med" len="med"/>
                    </a:lnB>
                    <a:solidFill>
                      <a:schemeClr val="accent1"/>
                    </a:solidFill>
                  </a:tcPr>
                </a:tc>
                <a:tc>
                  <a:txBody>
                    <a:bodyPr/>
                    <a:lstStyle/>
                    <a:p>
                      <a:pPr algn="ctr" fontAlgn="b">
                        <a:buNone/>
                      </a:pPr>
                      <a:r>
                        <a:rPr lang="en-NL" sz="900" u="none" strike="noStrike" dirty="0">
                          <a:effectLst/>
                        </a:rPr>
                        <a:t>59%</a:t>
                      </a:r>
                      <a:endParaRPr lang="en-NL"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ysDash"/>
                      <a:round/>
                      <a:headEnd type="none" w="med" len="med"/>
                      <a:tailEnd type="none" w="med" len="med"/>
                    </a:lnL>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1444900113"/>
                  </a:ext>
                </a:extLst>
              </a:tr>
              <a:tr h="190500">
                <a:tc>
                  <a:txBody>
                    <a:bodyPr/>
                    <a:lstStyle/>
                    <a:p>
                      <a:pPr algn="l" fontAlgn="b">
                        <a:buNone/>
                      </a:pPr>
                      <a:r>
                        <a:rPr lang="es-AR" sz="900" u="none" strike="noStrike" dirty="0">
                          <a:effectLst/>
                        </a:rPr>
                        <a:t>Team Leader</a:t>
                      </a:r>
                      <a:endParaRPr lang="es-AR" sz="9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fontAlgn="b">
                        <a:buNone/>
                      </a:pPr>
                      <a:r>
                        <a:rPr lang="en-NL" sz="900" u="none" strike="noStrike" dirty="0">
                          <a:effectLst/>
                        </a:rPr>
                        <a:t>17%</a:t>
                      </a:r>
                      <a:endParaRPr lang="en-NL"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2131589117"/>
                  </a:ext>
                </a:extLst>
              </a:tr>
              <a:tr h="190500">
                <a:tc>
                  <a:txBody>
                    <a:bodyPr/>
                    <a:lstStyle/>
                    <a:p>
                      <a:pPr algn="l" fontAlgn="b">
                        <a:buNone/>
                      </a:pPr>
                      <a:r>
                        <a:rPr lang="es-AR" sz="900" u="none" strike="noStrike" dirty="0">
                          <a:effectLst/>
                        </a:rPr>
                        <a:t>Manager</a:t>
                      </a:r>
                      <a:endParaRPr lang="es-AR" sz="9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fontAlgn="b">
                        <a:buNone/>
                      </a:pPr>
                      <a:r>
                        <a:rPr lang="en-NL" sz="900" u="none" strike="noStrike" dirty="0">
                          <a:effectLst/>
                        </a:rPr>
                        <a:t>13%</a:t>
                      </a:r>
                      <a:endParaRPr lang="en-NL"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1316477733"/>
                  </a:ext>
                </a:extLst>
              </a:tr>
              <a:tr h="190500">
                <a:tc>
                  <a:txBody>
                    <a:bodyPr/>
                    <a:lstStyle/>
                    <a:p>
                      <a:pPr algn="l" fontAlgn="b">
                        <a:buNone/>
                      </a:pPr>
                      <a:r>
                        <a:rPr lang="es-AR" sz="900" u="none" strike="noStrike" dirty="0">
                          <a:effectLst/>
                        </a:rPr>
                        <a:t>GSC</a:t>
                      </a:r>
                      <a:endParaRPr lang="es-AR" sz="9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fontAlgn="b">
                        <a:buNone/>
                      </a:pPr>
                      <a:r>
                        <a:rPr lang="en-NL" sz="900" u="none" strike="noStrike" dirty="0">
                          <a:effectLst/>
                        </a:rPr>
                        <a:t>9%</a:t>
                      </a:r>
                      <a:endParaRPr lang="en-NL"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766484359"/>
                  </a:ext>
                </a:extLst>
              </a:tr>
              <a:tr h="190500">
                <a:tc>
                  <a:txBody>
                    <a:bodyPr/>
                    <a:lstStyle/>
                    <a:p>
                      <a:pPr algn="l" fontAlgn="b">
                        <a:buNone/>
                      </a:pPr>
                      <a:r>
                        <a:rPr lang="es-AR" sz="900" u="none" strike="noStrike" dirty="0">
                          <a:effectLst/>
                        </a:rPr>
                        <a:t>Finops</a:t>
                      </a:r>
                      <a:endParaRPr lang="es-AR" sz="9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fontAlgn="b">
                        <a:buNone/>
                      </a:pPr>
                      <a:r>
                        <a:rPr lang="en-NL" sz="900" u="none" strike="noStrike" dirty="0">
                          <a:effectLst/>
                        </a:rPr>
                        <a:t>2%</a:t>
                      </a:r>
                      <a:endParaRPr lang="en-NL"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402694641"/>
                  </a:ext>
                </a:extLst>
              </a:tr>
              <a:tr h="190500">
                <a:tc>
                  <a:txBody>
                    <a:bodyPr/>
                    <a:lstStyle/>
                    <a:p>
                      <a:pPr algn="l" fontAlgn="b">
                        <a:buNone/>
                      </a:pPr>
                      <a:r>
                        <a:rPr lang="es-AR" sz="900" u="none" strike="noStrike" dirty="0">
                          <a:effectLst/>
                        </a:rPr>
                        <a:t>SME</a:t>
                      </a:r>
                      <a:endParaRPr lang="es-AR" sz="9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solidFill>
                      <a:schemeClr val="accent1"/>
                    </a:solidFill>
                  </a:tcPr>
                </a:tc>
                <a:tc>
                  <a:txBody>
                    <a:bodyPr/>
                    <a:lstStyle/>
                    <a:p>
                      <a:pPr algn="ctr" fontAlgn="b">
                        <a:buNone/>
                      </a:pPr>
                      <a:r>
                        <a:rPr lang="en-NL" sz="900" u="none" strike="noStrike" dirty="0">
                          <a:effectLst/>
                        </a:rPr>
                        <a:t>1%</a:t>
                      </a:r>
                      <a:endParaRPr lang="en-NL"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solidFill>
                      <a:schemeClr val="accent1"/>
                    </a:solidFill>
                  </a:tcPr>
                </a:tc>
                <a:extLst>
                  <a:ext uri="{0D108BD9-81ED-4DB2-BD59-A6C34878D82A}">
                    <a16:rowId xmlns:a16="http://schemas.microsoft.com/office/drawing/2014/main" val="1090444942"/>
                  </a:ext>
                </a:extLst>
              </a:tr>
            </a:tbl>
          </a:graphicData>
        </a:graphic>
      </p:graphicFrame>
      <p:graphicFrame>
        <p:nvGraphicFramePr>
          <p:cNvPr id="73" name="Table 72">
            <a:extLst>
              <a:ext uri="{FF2B5EF4-FFF2-40B4-BE49-F238E27FC236}">
                <a16:creationId xmlns:a16="http://schemas.microsoft.com/office/drawing/2014/main" id="{5918A464-6646-DE0D-0DEB-81959118E145}"/>
              </a:ext>
            </a:extLst>
          </p:cNvPr>
          <p:cNvGraphicFramePr>
            <a:graphicFrameLocks noGrp="1"/>
          </p:cNvGraphicFramePr>
          <p:nvPr>
            <p:extLst>
              <p:ext uri="{D42A27DB-BD31-4B8C-83A1-F6EECF244321}">
                <p14:modId xmlns:p14="http://schemas.microsoft.com/office/powerpoint/2010/main" val="1890103480"/>
              </p:ext>
            </p:extLst>
          </p:nvPr>
        </p:nvGraphicFramePr>
        <p:xfrm>
          <a:off x="9753923" y="4983580"/>
          <a:ext cx="775094" cy="381000"/>
        </p:xfrm>
        <a:graphic>
          <a:graphicData uri="http://schemas.openxmlformats.org/drawingml/2006/table">
            <a:tbl>
              <a:tblPr>
                <a:tableStyleId>{5C22544A-7EE6-4342-B048-85BDC9FD1C3A}</a:tableStyleId>
              </a:tblPr>
              <a:tblGrid>
                <a:gridCol w="457250">
                  <a:extLst>
                    <a:ext uri="{9D8B030D-6E8A-4147-A177-3AD203B41FA5}">
                      <a16:colId xmlns:a16="http://schemas.microsoft.com/office/drawing/2014/main" val="447679154"/>
                    </a:ext>
                  </a:extLst>
                </a:gridCol>
                <a:gridCol w="317844">
                  <a:extLst>
                    <a:ext uri="{9D8B030D-6E8A-4147-A177-3AD203B41FA5}">
                      <a16:colId xmlns:a16="http://schemas.microsoft.com/office/drawing/2014/main" val="3200387575"/>
                    </a:ext>
                  </a:extLst>
                </a:gridCol>
              </a:tblGrid>
              <a:tr h="190500">
                <a:tc>
                  <a:txBody>
                    <a:bodyPr/>
                    <a:lstStyle/>
                    <a:p>
                      <a:pPr marL="0" algn="ctr" defTabSz="914400" rtl="0" eaLnBrk="1" fontAlgn="b" latinLnBrk="0" hangingPunct="1">
                        <a:buNone/>
                      </a:pPr>
                      <a:r>
                        <a:rPr lang="es-AR" sz="900" u="none" strike="noStrike" kern="1200" dirty="0">
                          <a:solidFill>
                            <a:schemeClr val="lt1"/>
                          </a:solidFill>
                          <a:effectLst/>
                          <a:latin typeface="+mn-lt"/>
                          <a:ea typeface="+mn-ea"/>
                          <a:cs typeface="+mn-cs"/>
                        </a:rPr>
                        <a:t>AIR</a:t>
                      </a:r>
                    </a:p>
                  </a:txBody>
                  <a:tcPr marL="9525" marR="9525" marT="9525" marB="0" anchor="b">
                    <a:lnR w="12700" cap="flat" cmpd="sng" algn="ctr">
                      <a:solidFill>
                        <a:schemeClr val="bg1"/>
                      </a:solidFill>
                      <a:prstDash val="sysDash"/>
                      <a:round/>
                      <a:headEnd type="none" w="med" len="med"/>
                      <a:tailEnd type="none" w="med" len="med"/>
                    </a:lnR>
                    <a:lnB w="12700" cap="flat" cmpd="sng" algn="ctr">
                      <a:solidFill>
                        <a:schemeClr val="bg1"/>
                      </a:solidFill>
                      <a:prstDash val="sysDash"/>
                      <a:round/>
                      <a:headEnd type="none" w="med" len="med"/>
                      <a:tailEnd type="none" w="med" len="med"/>
                    </a:lnB>
                    <a:solidFill>
                      <a:schemeClr val="accent1"/>
                    </a:solidFill>
                  </a:tcPr>
                </a:tc>
                <a:tc>
                  <a:txBody>
                    <a:bodyPr/>
                    <a:lstStyle/>
                    <a:p>
                      <a:pPr marL="0" algn="ctr" defTabSz="914400" rtl="0" eaLnBrk="1" fontAlgn="b" latinLnBrk="0" hangingPunct="1">
                        <a:buNone/>
                      </a:pPr>
                      <a:r>
                        <a:rPr lang="en-NL" sz="900" u="none" strike="noStrike" kern="1200" dirty="0">
                          <a:solidFill>
                            <a:schemeClr val="lt1"/>
                          </a:solidFill>
                          <a:effectLst/>
                          <a:latin typeface="+mn-lt"/>
                          <a:ea typeface="+mn-ea"/>
                          <a:cs typeface="+mn-cs"/>
                        </a:rPr>
                        <a:t>56%</a:t>
                      </a:r>
                    </a:p>
                  </a:txBody>
                  <a:tcPr marL="9525" marR="9525" marT="9525" marB="0" anchor="b">
                    <a:lnL w="12700" cap="flat" cmpd="sng" algn="ctr">
                      <a:solidFill>
                        <a:schemeClr val="bg1"/>
                      </a:solidFill>
                      <a:prstDash val="sysDash"/>
                      <a:round/>
                      <a:headEnd type="none" w="med" len="med"/>
                      <a:tailEnd type="none" w="med" len="med"/>
                    </a:lnL>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568357469"/>
                  </a:ext>
                </a:extLst>
              </a:tr>
              <a:tr h="190500">
                <a:tc>
                  <a:txBody>
                    <a:bodyPr/>
                    <a:lstStyle/>
                    <a:p>
                      <a:pPr marL="0" algn="ctr" defTabSz="914400" rtl="0" eaLnBrk="1" fontAlgn="b" latinLnBrk="0" hangingPunct="1">
                        <a:buNone/>
                      </a:pPr>
                      <a:r>
                        <a:rPr lang="es-AR" sz="900" u="none" strike="noStrike" kern="1200" dirty="0">
                          <a:solidFill>
                            <a:schemeClr val="lt1"/>
                          </a:solidFill>
                          <a:effectLst/>
                          <a:latin typeface="+mn-lt"/>
                          <a:ea typeface="+mn-ea"/>
                          <a:cs typeface="+mn-cs"/>
                        </a:rPr>
                        <a:t>LCL</a:t>
                      </a: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solidFill>
                      <a:schemeClr val="accent1"/>
                    </a:solidFill>
                  </a:tcPr>
                </a:tc>
                <a:tc>
                  <a:txBody>
                    <a:bodyPr/>
                    <a:lstStyle/>
                    <a:p>
                      <a:pPr marL="0" algn="ctr" defTabSz="914400" rtl="0" eaLnBrk="1" fontAlgn="b" latinLnBrk="0" hangingPunct="1">
                        <a:buNone/>
                      </a:pPr>
                      <a:r>
                        <a:rPr lang="en-NL" sz="900" u="none" strike="noStrike" kern="1200" dirty="0">
                          <a:solidFill>
                            <a:schemeClr val="lt1"/>
                          </a:solidFill>
                          <a:effectLst/>
                          <a:latin typeface="+mn-lt"/>
                          <a:ea typeface="+mn-ea"/>
                          <a:cs typeface="+mn-cs"/>
                        </a:rPr>
                        <a:t>44%</a:t>
                      </a: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solidFill>
                      <a:schemeClr val="accent1"/>
                    </a:solidFill>
                  </a:tcPr>
                </a:tc>
                <a:extLst>
                  <a:ext uri="{0D108BD9-81ED-4DB2-BD59-A6C34878D82A}">
                    <a16:rowId xmlns:a16="http://schemas.microsoft.com/office/drawing/2014/main" val="1099290459"/>
                  </a:ext>
                </a:extLst>
              </a:tr>
            </a:tbl>
          </a:graphicData>
        </a:graphic>
      </p:graphicFrame>
      <p:graphicFrame>
        <p:nvGraphicFramePr>
          <p:cNvPr id="74" name="Table 73">
            <a:extLst>
              <a:ext uri="{FF2B5EF4-FFF2-40B4-BE49-F238E27FC236}">
                <a16:creationId xmlns:a16="http://schemas.microsoft.com/office/drawing/2014/main" id="{9FCA9DF8-8B4D-9AB8-93DC-E728E7B96185}"/>
              </a:ext>
            </a:extLst>
          </p:cNvPr>
          <p:cNvGraphicFramePr>
            <a:graphicFrameLocks noGrp="1"/>
          </p:cNvGraphicFramePr>
          <p:nvPr>
            <p:extLst>
              <p:ext uri="{D42A27DB-BD31-4B8C-83A1-F6EECF244321}">
                <p14:modId xmlns:p14="http://schemas.microsoft.com/office/powerpoint/2010/main" val="2376785128"/>
              </p:ext>
            </p:extLst>
          </p:nvPr>
        </p:nvGraphicFramePr>
        <p:xfrm>
          <a:off x="10565082" y="4983580"/>
          <a:ext cx="775094" cy="762000"/>
        </p:xfrm>
        <a:graphic>
          <a:graphicData uri="http://schemas.openxmlformats.org/drawingml/2006/table">
            <a:tbl>
              <a:tblPr>
                <a:tableStyleId>{5C22544A-7EE6-4342-B048-85BDC9FD1C3A}</a:tableStyleId>
              </a:tblPr>
              <a:tblGrid>
                <a:gridCol w="375561">
                  <a:extLst>
                    <a:ext uri="{9D8B030D-6E8A-4147-A177-3AD203B41FA5}">
                      <a16:colId xmlns:a16="http://schemas.microsoft.com/office/drawing/2014/main" val="3519781194"/>
                    </a:ext>
                  </a:extLst>
                </a:gridCol>
                <a:gridCol w="399533">
                  <a:extLst>
                    <a:ext uri="{9D8B030D-6E8A-4147-A177-3AD203B41FA5}">
                      <a16:colId xmlns:a16="http://schemas.microsoft.com/office/drawing/2014/main" val="2511550254"/>
                    </a:ext>
                  </a:extLst>
                </a:gridCol>
              </a:tblGrid>
              <a:tr h="190500">
                <a:tc>
                  <a:txBody>
                    <a:bodyPr/>
                    <a:lstStyle/>
                    <a:p>
                      <a:pPr marL="0" algn="ctr" defTabSz="914400" rtl="0" eaLnBrk="1" fontAlgn="b" latinLnBrk="0" hangingPunct="1">
                        <a:buNone/>
                      </a:pPr>
                      <a:r>
                        <a:rPr lang="es-AR" sz="900" u="none" strike="noStrike" kern="1200" dirty="0">
                          <a:solidFill>
                            <a:schemeClr val="lt1"/>
                          </a:solidFill>
                          <a:effectLst/>
                          <a:latin typeface="+mn-lt"/>
                          <a:ea typeface="+mn-ea"/>
                          <a:cs typeface="+mn-cs"/>
                        </a:rPr>
                        <a:t>APA</a:t>
                      </a:r>
                    </a:p>
                  </a:txBody>
                  <a:tcPr marL="9525" marR="9525" marT="9525" marB="0" anchor="b">
                    <a:lnR w="12700" cap="flat" cmpd="sng" algn="ctr">
                      <a:solidFill>
                        <a:schemeClr val="bg1"/>
                      </a:solidFill>
                      <a:prstDash val="sysDash"/>
                      <a:round/>
                      <a:headEnd type="none" w="med" len="med"/>
                      <a:tailEnd type="none" w="med" len="med"/>
                    </a:lnR>
                    <a:lnB w="12700" cap="flat" cmpd="sng" algn="ctr">
                      <a:solidFill>
                        <a:schemeClr val="bg1"/>
                      </a:solidFill>
                      <a:prstDash val="sysDash"/>
                      <a:round/>
                      <a:headEnd type="none" w="med" len="med"/>
                      <a:tailEnd type="none" w="med" len="med"/>
                    </a:lnB>
                    <a:solidFill>
                      <a:schemeClr val="accent1"/>
                    </a:solidFill>
                  </a:tcPr>
                </a:tc>
                <a:tc>
                  <a:txBody>
                    <a:bodyPr/>
                    <a:lstStyle/>
                    <a:p>
                      <a:pPr marL="0" algn="ctr" defTabSz="914400" rtl="0" eaLnBrk="1" fontAlgn="b" latinLnBrk="0" hangingPunct="1">
                        <a:buNone/>
                      </a:pPr>
                      <a:r>
                        <a:rPr lang="en-NL" sz="900" u="none" strike="noStrike" kern="1200" dirty="0">
                          <a:solidFill>
                            <a:schemeClr val="lt1"/>
                          </a:solidFill>
                          <a:effectLst/>
                          <a:latin typeface="+mn-lt"/>
                          <a:ea typeface="+mn-ea"/>
                          <a:cs typeface="+mn-cs"/>
                        </a:rPr>
                        <a:t>39%</a:t>
                      </a:r>
                    </a:p>
                  </a:txBody>
                  <a:tcPr marL="9525" marR="9525" marT="9525" marB="0" anchor="b">
                    <a:lnL w="12700" cap="flat" cmpd="sng" algn="ctr">
                      <a:solidFill>
                        <a:schemeClr val="bg1"/>
                      </a:solidFill>
                      <a:prstDash val="sysDash"/>
                      <a:round/>
                      <a:headEnd type="none" w="med" len="med"/>
                      <a:tailEnd type="none" w="med" len="med"/>
                    </a:lnL>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527886104"/>
                  </a:ext>
                </a:extLst>
              </a:tr>
              <a:tr h="190500">
                <a:tc>
                  <a:txBody>
                    <a:bodyPr/>
                    <a:lstStyle/>
                    <a:p>
                      <a:pPr marL="0" algn="ctr" defTabSz="914400" rtl="0" eaLnBrk="1" fontAlgn="b" latinLnBrk="0" hangingPunct="1">
                        <a:buNone/>
                      </a:pPr>
                      <a:r>
                        <a:rPr lang="es-AR" sz="900" u="none" strike="noStrike" kern="1200" dirty="0">
                          <a:solidFill>
                            <a:schemeClr val="lt1"/>
                          </a:solidFill>
                          <a:effectLst/>
                          <a:latin typeface="+mn-lt"/>
                          <a:ea typeface="+mn-ea"/>
                          <a:cs typeface="+mn-cs"/>
                        </a:rPr>
                        <a:t>NAM</a:t>
                      </a: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marL="0" algn="ctr" defTabSz="914400" rtl="0" eaLnBrk="1" fontAlgn="b" latinLnBrk="0" hangingPunct="1">
                        <a:buNone/>
                      </a:pPr>
                      <a:r>
                        <a:rPr lang="en-NL" sz="900" u="none" strike="noStrike" kern="1200" dirty="0">
                          <a:solidFill>
                            <a:schemeClr val="lt1"/>
                          </a:solidFill>
                          <a:effectLst/>
                          <a:latin typeface="+mn-lt"/>
                          <a:ea typeface="+mn-ea"/>
                          <a:cs typeface="+mn-cs"/>
                        </a:rPr>
                        <a:t>36%</a:t>
                      </a: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527386007"/>
                  </a:ext>
                </a:extLst>
              </a:tr>
              <a:tr h="190500">
                <a:tc>
                  <a:txBody>
                    <a:bodyPr/>
                    <a:lstStyle/>
                    <a:p>
                      <a:pPr marL="0" algn="ctr" defTabSz="914400" rtl="0" eaLnBrk="1" fontAlgn="b" latinLnBrk="0" hangingPunct="1">
                        <a:buNone/>
                      </a:pPr>
                      <a:r>
                        <a:rPr lang="es-AR" sz="900" u="none" strike="noStrike" kern="1200" dirty="0">
                          <a:solidFill>
                            <a:schemeClr val="lt1"/>
                          </a:solidFill>
                          <a:effectLst/>
                          <a:latin typeface="+mn-lt"/>
                          <a:ea typeface="+mn-ea"/>
                          <a:cs typeface="+mn-cs"/>
                        </a:rPr>
                        <a:t>EUR</a:t>
                      </a: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marL="0" algn="ctr" defTabSz="914400" rtl="0" eaLnBrk="1" fontAlgn="b" latinLnBrk="0" hangingPunct="1">
                        <a:buNone/>
                      </a:pPr>
                      <a:r>
                        <a:rPr lang="en-NL" sz="900" u="none" strike="noStrike" kern="1200" dirty="0">
                          <a:solidFill>
                            <a:schemeClr val="lt1"/>
                          </a:solidFill>
                          <a:effectLst/>
                          <a:latin typeface="+mn-lt"/>
                          <a:ea typeface="+mn-ea"/>
                          <a:cs typeface="+mn-cs"/>
                        </a:rPr>
                        <a:t>17%</a:t>
                      </a: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1214765970"/>
                  </a:ext>
                </a:extLst>
              </a:tr>
              <a:tr h="190500">
                <a:tc>
                  <a:txBody>
                    <a:bodyPr/>
                    <a:lstStyle/>
                    <a:p>
                      <a:pPr marL="0" algn="ctr" defTabSz="914400" rtl="0" eaLnBrk="1" fontAlgn="b" latinLnBrk="0" hangingPunct="1">
                        <a:buNone/>
                      </a:pPr>
                      <a:r>
                        <a:rPr lang="es-AR" sz="900" u="none" strike="noStrike" kern="1200" dirty="0">
                          <a:solidFill>
                            <a:schemeClr val="lt1"/>
                          </a:solidFill>
                          <a:effectLst/>
                          <a:latin typeface="+mn-lt"/>
                          <a:ea typeface="+mn-ea"/>
                          <a:cs typeface="+mn-cs"/>
                        </a:rPr>
                        <a:t>IMEA</a:t>
                      </a:r>
                    </a:p>
                  </a:txBody>
                  <a:tcPr marL="9525" marR="9525" marT="9525" marB="0" anchor="b">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solidFill>
                      <a:schemeClr val="accent1"/>
                    </a:solidFill>
                  </a:tcPr>
                </a:tc>
                <a:tc>
                  <a:txBody>
                    <a:bodyPr/>
                    <a:lstStyle/>
                    <a:p>
                      <a:pPr marL="0" algn="ctr" defTabSz="914400" rtl="0" eaLnBrk="1" fontAlgn="b" latinLnBrk="0" hangingPunct="1">
                        <a:buNone/>
                      </a:pPr>
                      <a:r>
                        <a:rPr lang="en-NL" sz="900" u="none" strike="noStrike" kern="1200" dirty="0">
                          <a:solidFill>
                            <a:schemeClr val="lt1"/>
                          </a:solidFill>
                          <a:effectLst/>
                          <a:latin typeface="+mn-lt"/>
                          <a:ea typeface="+mn-ea"/>
                          <a:cs typeface="+mn-cs"/>
                        </a:rPr>
                        <a:t>9%</a:t>
                      </a:r>
                    </a:p>
                  </a:txBody>
                  <a:tcPr marL="9525" marR="9525" marT="9525" marB="0" anchor="b">
                    <a:lnL w="12700" cap="flat" cmpd="sng" algn="ctr">
                      <a:solidFill>
                        <a:schemeClr val="bg1"/>
                      </a:solidFill>
                      <a:prstDash val="sysDash"/>
                      <a:round/>
                      <a:headEnd type="none" w="med" len="med"/>
                      <a:tailEnd type="none" w="med" len="med"/>
                    </a:lnL>
                    <a:lnT w="12700" cap="flat" cmpd="sng" algn="ctr">
                      <a:solidFill>
                        <a:schemeClr val="bg1"/>
                      </a:solidFill>
                      <a:prstDash val="sysDash"/>
                      <a:round/>
                      <a:headEnd type="none" w="med" len="med"/>
                      <a:tailEnd type="none" w="med" len="med"/>
                    </a:lnT>
                    <a:solidFill>
                      <a:schemeClr val="accent1"/>
                    </a:solidFill>
                  </a:tcPr>
                </a:tc>
                <a:extLst>
                  <a:ext uri="{0D108BD9-81ED-4DB2-BD59-A6C34878D82A}">
                    <a16:rowId xmlns:a16="http://schemas.microsoft.com/office/drawing/2014/main" val="2941316442"/>
                  </a:ext>
                </a:extLst>
              </a:tr>
            </a:tbl>
          </a:graphicData>
        </a:graphic>
      </p:graphicFrame>
      <p:pic>
        <p:nvPicPr>
          <p:cNvPr id="1026" name="Picture 2">
            <a:extLst>
              <a:ext uri="{FF2B5EF4-FFF2-40B4-BE49-F238E27FC236}">
                <a16:creationId xmlns:a16="http://schemas.microsoft.com/office/drawing/2014/main" id="{CECB2642-91B1-9D7A-CF7C-B2E4D464B2C6}"/>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val="0"/>
              </a:ext>
            </a:extLst>
          </a:blip>
          <a:srcRect l="31328" r="12551" b="9119"/>
          <a:stretch>
            <a:fillRect/>
          </a:stretch>
        </p:blipFill>
        <p:spPr bwMode="auto">
          <a:xfrm>
            <a:off x="8520287" y="2899856"/>
            <a:ext cx="1395992" cy="1075421"/>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F6D042F7-A28C-5830-E305-69A62A31A665}"/>
              </a:ext>
            </a:extLst>
          </p:cNvPr>
          <p:cNvSpPr txBox="1"/>
          <p:nvPr/>
        </p:nvSpPr>
        <p:spPr>
          <a:xfrm>
            <a:off x="7753517" y="2879356"/>
            <a:ext cx="1156913" cy="1183337"/>
          </a:xfrm>
          <a:prstGeom prst="rect">
            <a:avLst/>
          </a:prstGeom>
          <a:noFill/>
        </p:spPr>
        <p:txBody>
          <a:bodyPr wrap="square">
            <a:spAutoFit/>
          </a:bodyPr>
          <a:lstStyle/>
          <a:p>
            <a:pPr algn="l">
              <a:lnSpc>
                <a:spcPts val="1200"/>
              </a:lnSpc>
              <a:buNone/>
            </a:pPr>
            <a:r>
              <a:rPr lang="en-US" sz="800" b="0" i="0" dirty="0">
                <a:solidFill>
                  <a:srgbClr val="212121"/>
                </a:solidFill>
                <a:effectLst/>
                <a:latin typeface="+mj-lt"/>
              </a:rPr>
              <a:t>Missing WIPS</a:t>
            </a:r>
          </a:p>
          <a:p>
            <a:pPr algn="l">
              <a:lnSpc>
                <a:spcPts val="1200"/>
              </a:lnSpc>
              <a:buNone/>
            </a:pPr>
            <a:r>
              <a:rPr lang="en-US" sz="800" b="0" i="0" dirty="0">
                <a:solidFill>
                  <a:srgbClr val="212121"/>
                </a:solidFill>
                <a:effectLst/>
                <a:latin typeface="+mj-lt"/>
              </a:rPr>
              <a:t>Missing Revenue</a:t>
            </a:r>
          </a:p>
          <a:p>
            <a:pPr algn="l">
              <a:lnSpc>
                <a:spcPts val="1200"/>
              </a:lnSpc>
              <a:buNone/>
            </a:pPr>
            <a:r>
              <a:rPr lang="en-US" sz="800" b="0" i="0" dirty="0">
                <a:solidFill>
                  <a:srgbClr val="212121"/>
                </a:solidFill>
                <a:effectLst/>
                <a:latin typeface="+mj-lt"/>
              </a:rPr>
              <a:t>Missing Accruals</a:t>
            </a:r>
          </a:p>
          <a:p>
            <a:pPr algn="l">
              <a:lnSpc>
                <a:spcPts val="1200"/>
              </a:lnSpc>
              <a:buNone/>
            </a:pPr>
            <a:r>
              <a:rPr lang="en-US" sz="800" b="0" i="0" dirty="0">
                <a:solidFill>
                  <a:srgbClr val="212121"/>
                </a:solidFill>
                <a:effectLst/>
                <a:latin typeface="+mj-lt"/>
              </a:rPr>
              <a:t>Missing Cost</a:t>
            </a:r>
          </a:p>
          <a:p>
            <a:pPr algn="l">
              <a:lnSpc>
                <a:spcPts val="1200"/>
              </a:lnSpc>
              <a:buNone/>
            </a:pPr>
            <a:r>
              <a:rPr lang="en-US" sz="800" b="0" i="0" dirty="0">
                <a:solidFill>
                  <a:srgbClr val="212121"/>
                </a:solidFill>
                <a:effectLst/>
                <a:latin typeface="+mj-lt"/>
              </a:rPr>
              <a:t>Empty Shipments</a:t>
            </a:r>
          </a:p>
          <a:p>
            <a:pPr algn="l">
              <a:lnSpc>
                <a:spcPts val="1200"/>
              </a:lnSpc>
              <a:buNone/>
            </a:pPr>
            <a:r>
              <a:rPr lang="en-US" sz="800" b="0" i="0" dirty="0">
                <a:solidFill>
                  <a:srgbClr val="212121"/>
                </a:solidFill>
                <a:effectLst/>
                <a:latin typeface="+mj-lt"/>
              </a:rPr>
              <a:t>Non-Soft Close</a:t>
            </a:r>
          </a:p>
          <a:p>
            <a:pPr algn="l">
              <a:lnSpc>
                <a:spcPts val="1200"/>
              </a:lnSpc>
              <a:buNone/>
            </a:pPr>
            <a:r>
              <a:rPr lang="en-US" sz="800" b="0" i="0" dirty="0">
                <a:solidFill>
                  <a:srgbClr val="212121"/>
                </a:solidFill>
                <a:effectLst/>
                <a:latin typeface="+mj-lt"/>
              </a:rPr>
              <a:t>Non-Hard Close</a:t>
            </a:r>
          </a:p>
        </p:txBody>
      </p:sp>
      <p:sp>
        <p:nvSpPr>
          <p:cNvPr id="77" name="TextBox 76">
            <a:extLst>
              <a:ext uri="{FF2B5EF4-FFF2-40B4-BE49-F238E27FC236}">
                <a16:creationId xmlns:a16="http://schemas.microsoft.com/office/drawing/2014/main" id="{781D64EA-EE0C-04C3-0547-F57AD64FA94A}"/>
              </a:ext>
            </a:extLst>
          </p:cNvPr>
          <p:cNvSpPr txBox="1"/>
          <p:nvPr/>
        </p:nvSpPr>
        <p:spPr>
          <a:xfrm>
            <a:off x="7769385" y="4062693"/>
            <a:ext cx="2019649" cy="338554"/>
          </a:xfrm>
          <a:prstGeom prst="rect">
            <a:avLst/>
          </a:prstGeom>
          <a:solidFill>
            <a:schemeClr val="tx1"/>
          </a:solidFill>
        </p:spPr>
        <p:txBody>
          <a:bodyPr wrap="square">
            <a:spAutoFit/>
          </a:bodyPr>
          <a:lstStyle>
            <a:defPPr>
              <a:defRPr lang="en-DK"/>
            </a:defPPr>
            <a:lvl1pPr>
              <a:defRPr sz="1000" b="1" i="0" strike="noStrike">
                <a:solidFill>
                  <a:schemeClr val="bg1"/>
                </a:solidFill>
                <a:effectLst/>
                <a:latin typeface="Maersk Text" panose="00000500000000000000" pitchFamily="2" charset="0"/>
              </a:defRPr>
            </a:lvl1pPr>
          </a:lstStyle>
          <a:p>
            <a:pPr algn="ctr"/>
            <a:r>
              <a:rPr lang="en-US" sz="800" b="0" dirty="0"/>
              <a:t>The CW1 Sick Files filters in FH help me easily identify the following issues</a:t>
            </a:r>
            <a:endParaRPr lang="en-US" sz="600" b="0" dirty="0"/>
          </a:p>
        </p:txBody>
      </p:sp>
      <p:sp>
        <p:nvSpPr>
          <p:cNvPr id="79" name="TextBox 78">
            <a:extLst>
              <a:ext uri="{FF2B5EF4-FFF2-40B4-BE49-F238E27FC236}">
                <a16:creationId xmlns:a16="http://schemas.microsoft.com/office/drawing/2014/main" id="{80C50DCD-A1A2-37B1-5C44-9423A5A7DE14}"/>
              </a:ext>
            </a:extLst>
          </p:cNvPr>
          <p:cNvSpPr txBox="1"/>
          <p:nvPr/>
        </p:nvSpPr>
        <p:spPr>
          <a:xfrm>
            <a:off x="9278632" y="2866005"/>
            <a:ext cx="394910" cy="1182375"/>
          </a:xfrm>
          <a:prstGeom prst="rect">
            <a:avLst/>
          </a:prstGeom>
          <a:noFill/>
        </p:spPr>
        <p:txBody>
          <a:bodyPr wrap="square">
            <a:spAutoFit/>
          </a:bodyPr>
          <a:lstStyle/>
          <a:p>
            <a:pPr algn="l">
              <a:lnSpc>
                <a:spcPts val="1200"/>
              </a:lnSpc>
              <a:buNone/>
            </a:pPr>
            <a:r>
              <a:rPr lang="en-US" sz="800" b="1" i="0" dirty="0">
                <a:solidFill>
                  <a:srgbClr val="212121"/>
                </a:solidFill>
                <a:effectLst/>
                <a:latin typeface="+mj-lt"/>
              </a:rPr>
              <a:t>51%</a:t>
            </a:r>
          </a:p>
          <a:p>
            <a:pPr algn="l">
              <a:lnSpc>
                <a:spcPts val="1200"/>
              </a:lnSpc>
              <a:buNone/>
            </a:pPr>
            <a:r>
              <a:rPr lang="en-US" sz="800" b="1" i="0" dirty="0">
                <a:solidFill>
                  <a:srgbClr val="212121"/>
                </a:solidFill>
                <a:effectLst/>
                <a:latin typeface="+mj-lt"/>
              </a:rPr>
              <a:t>53%</a:t>
            </a:r>
          </a:p>
          <a:p>
            <a:pPr algn="l">
              <a:lnSpc>
                <a:spcPts val="1200"/>
              </a:lnSpc>
              <a:buNone/>
            </a:pPr>
            <a:r>
              <a:rPr lang="en-US" sz="800" b="1" i="0" dirty="0">
                <a:solidFill>
                  <a:srgbClr val="212121"/>
                </a:solidFill>
                <a:effectLst/>
                <a:latin typeface="+mj-lt"/>
              </a:rPr>
              <a:t>55%</a:t>
            </a:r>
          </a:p>
          <a:p>
            <a:pPr algn="l">
              <a:lnSpc>
                <a:spcPts val="1200"/>
              </a:lnSpc>
              <a:buNone/>
            </a:pPr>
            <a:r>
              <a:rPr lang="en-US" sz="800" b="1" i="0" dirty="0">
                <a:solidFill>
                  <a:srgbClr val="212121"/>
                </a:solidFill>
                <a:effectLst/>
                <a:latin typeface="+mj-lt"/>
              </a:rPr>
              <a:t>52%</a:t>
            </a:r>
          </a:p>
          <a:p>
            <a:pPr algn="l">
              <a:lnSpc>
                <a:spcPts val="1200"/>
              </a:lnSpc>
              <a:buNone/>
            </a:pPr>
            <a:r>
              <a:rPr lang="en-US" sz="800" b="1" i="0" dirty="0">
                <a:solidFill>
                  <a:srgbClr val="212121"/>
                </a:solidFill>
                <a:effectLst/>
                <a:latin typeface="+mj-lt"/>
              </a:rPr>
              <a:t>56%</a:t>
            </a:r>
          </a:p>
          <a:p>
            <a:pPr algn="l">
              <a:lnSpc>
                <a:spcPts val="1200"/>
              </a:lnSpc>
              <a:buNone/>
            </a:pPr>
            <a:r>
              <a:rPr lang="en-US" sz="800" b="1" i="0" dirty="0">
                <a:solidFill>
                  <a:srgbClr val="212121"/>
                </a:solidFill>
                <a:effectLst/>
                <a:latin typeface="+mj-lt"/>
              </a:rPr>
              <a:t>54%</a:t>
            </a:r>
          </a:p>
          <a:p>
            <a:pPr algn="l">
              <a:lnSpc>
                <a:spcPts val="1200"/>
              </a:lnSpc>
              <a:buNone/>
            </a:pPr>
            <a:r>
              <a:rPr lang="en-US" sz="800" b="1" i="0" dirty="0">
                <a:solidFill>
                  <a:srgbClr val="212121"/>
                </a:solidFill>
                <a:effectLst/>
                <a:latin typeface="+mj-lt"/>
              </a:rPr>
              <a:t>52%</a:t>
            </a:r>
          </a:p>
        </p:txBody>
      </p:sp>
      <p:sp>
        <p:nvSpPr>
          <p:cNvPr id="80" name="Content Placeholder 2">
            <a:extLst>
              <a:ext uri="{FF2B5EF4-FFF2-40B4-BE49-F238E27FC236}">
                <a16:creationId xmlns:a16="http://schemas.microsoft.com/office/drawing/2014/main" id="{21D1FD49-3DAD-D781-84F0-B9A23155C132}"/>
              </a:ext>
            </a:extLst>
          </p:cNvPr>
          <p:cNvSpPr txBox="1">
            <a:spLocks/>
          </p:cNvSpPr>
          <p:nvPr/>
        </p:nvSpPr>
        <p:spPr>
          <a:xfrm>
            <a:off x="205086" y="4555040"/>
            <a:ext cx="3635394" cy="1543552"/>
          </a:xfrm>
          <a:prstGeom prst="roundRect">
            <a:avLst>
              <a:gd name="adj" fmla="val 1980"/>
            </a:avLst>
          </a:prstGeom>
          <a:solidFill>
            <a:schemeClr val="tx1">
              <a:lumMod val="10000"/>
              <a:lumOff val="90000"/>
            </a:schemeClr>
          </a:solid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a:lstStyle>
          <a:p>
            <a:r>
              <a:rPr lang="en-GB" sz="900" b="1" noProof="0" dirty="0">
                <a:latin typeface="+mj-lt"/>
              </a:rPr>
              <a:t>Clearer guidelines &amp; explanations </a:t>
            </a:r>
            <a:r>
              <a:rPr lang="en-GB" sz="900" noProof="0" dirty="0">
                <a:latin typeface="+mj-lt"/>
              </a:rPr>
              <a:t>→ Requests for defined rules, purposes, and simpler instructions.</a:t>
            </a:r>
          </a:p>
          <a:p>
            <a:r>
              <a:rPr lang="en-GB" sz="900" b="1" noProof="0" dirty="0">
                <a:latin typeface="+mj-lt"/>
              </a:rPr>
              <a:t>More training / refreshers </a:t>
            </a:r>
            <a:r>
              <a:rPr lang="en-GB" sz="900" noProof="0" dirty="0">
                <a:latin typeface="+mj-lt"/>
              </a:rPr>
              <a:t>→ Both initial and ongoing sessions (including quick tips or refresh training).</a:t>
            </a:r>
          </a:p>
          <a:p>
            <a:r>
              <a:rPr lang="en-GB" sz="900" b="1" noProof="0" dirty="0">
                <a:latin typeface="+mj-lt"/>
              </a:rPr>
              <a:t>Better usability </a:t>
            </a:r>
            <a:r>
              <a:rPr lang="en-GB" sz="900" noProof="0" dirty="0">
                <a:latin typeface="+mj-lt"/>
              </a:rPr>
              <a:t>→ Improved filters, export options, lighter colour schemes, and faster system response.</a:t>
            </a:r>
          </a:p>
          <a:p>
            <a:r>
              <a:rPr lang="en-GB" sz="900" b="1" noProof="0" dirty="0">
                <a:latin typeface="+mj-lt"/>
              </a:rPr>
              <a:t>Regular updates &amp; visibility </a:t>
            </a:r>
            <a:r>
              <a:rPr lang="en-GB" sz="900" noProof="0" dirty="0">
                <a:latin typeface="+mj-lt"/>
              </a:rPr>
              <a:t>→ Want timely updates, automated reporting, and consistency across regions.</a:t>
            </a:r>
          </a:p>
        </p:txBody>
      </p:sp>
      <p:sp>
        <p:nvSpPr>
          <p:cNvPr id="81" name="Content Placeholder 2">
            <a:extLst>
              <a:ext uri="{FF2B5EF4-FFF2-40B4-BE49-F238E27FC236}">
                <a16:creationId xmlns:a16="http://schemas.microsoft.com/office/drawing/2014/main" id="{5D95777A-065F-7765-EDFA-3FA568CFEA59}"/>
              </a:ext>
            </a:extLst>
          </p:cNvPr>
          <p:cNvSpPr txBox="1">
            <a:spLocks/>
          </p:cNvSpPr>
          <p:nvPr/>
        </p:nvSpPr>
        <p:spPr>
          <a:xfrm>
            <a:off x="3932300" y="4566642"/>
            <a:ext cx="3907938" cy="1543552"/>
          </a:xfrm>
          <a:prstGeom prst="roundRect">
            <a:avLst>
              <a:gd name="adj" fmla="val 1980"/>
            </a:avLst>
          </a:prstGeom>
          <a:solidFill>
            <a:schemeClr val="tx1">
              <a:lumMod val="10000"/>
              <a:lumOff val="90000"/>
            </a:schemeClr>
          </a:solidFill>
        </p:spPr>
        <p:txBody>
          <a:bodyPr/>
          <a:lst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a:lstStyle>
          <a:p>
            <a:r>
              <a:rPr lang="en-US" sz="900" b="1" dirty="0">
                <a:latin typeface="+mj-lt"/>
              </a:rPr>
              <a:t>Forgetting / Lack of habit </a:t>
            </a:r>
            <a:r>
              <a:rPr lang="en-US" sz="900" dirty="0">
                <a:latin typeface="+mj-lt"/>
              </a:rPr>
              <a:t>→ Several people mentioned they “sometimes forget” or don’t check daily.</a:t>
            </a:r>
          </a:p>
          <a:p>
            <a:r>
              <a:rPr lang="en-US" sz="900" b="1" dirty="0">
                <a:latin typeface="+mj-lt"/>
              </a:rPr>
              <a:t>Lack of clarity or training </a:t>
            </a:r>
            <a:r>
              <a:rPr lang="en-US" sz="900" dirty="0">
                <a:latin typeface="+mj-lt"/>
              </a:rPr>
              <a:t>→ Respondents aren’t always clear on the purpose/benefits, rules, or how to use them effectively.</a:t>
            </a:r>
          </a:p>
          <a:p>
            <a:r>
              <a:rPr lang="en-US" sz="900" b="1" dirty="0">
                <a:latin typeface="+mj-lt"/>
              </a:rPr>
              <a:t>System/usability issues </a:t>
            </a:r>
            <a:r>
              <a:rPr lang="en-US" sz="900" dirty="0">
                <a:latin typeface="+mj-lt"/>
              </a:rPr>
              <a:t>→ Concerns with filters, colors, slow performance, or missing features.</a:t>
            </a:r>
          </a:p>
          <a:p>
            <a:r>
              <a:rPr lang="en-US" sz="900" b="1" dirty="0">
                <a:latin typeface="+mj-lt"/>
              </a:rPr>
              <a:t>Not relevant to their scope </a:t>
            </a:r>
            <a:r>
              <a:rPr lang="en-US" sz="900" dirty="0">
                <a:latin typeface="+mj-lt"/>
              </a:rPr>
              <a:t>→ Some believe it’s outside their role or not needed for their tasks.</a:t>
            </a:r>
            <a:endParaRPr lang="en-001" sz="900" dirty="0">
              <a:latin typeface="+mj-lt"/>
            </a:endParaRPr>
          </a:p>
        </p:txBody>
      </p:sp>
    </p:spTree>
    <p:extLst>
      <p:ext uri="{BB962C8B-B14F-4D97-AF65-F5344CB8AC3E}">
        <p14:creationId xmlns:p14="http://schemas.microsoft.com/office/powerpoint/2010/main" val="1809475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1EA90-CFA2-A128-1CB1-320FC5516EC3}"/>
            </a:ext>
          </a:extLst>
        </p:cNvPr>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71E3019A-CBFC-FD42-6AC6-137E17E7B920}"/>
              </a:ext>
            </a:extLst>
          </p:cNvPr>
          <p:cNvSpPr/>
          <p:nvPr/>
        </p:nvSpPr>
        <p:spPr>
          <a:xfrm>
            <a:off x="595639" y="1200152"/>
            <a:ext cx="10724633" cy="4597144"/>
          </a:xfrm>
          <a:prstGeom prst="roundRect">
            <a:avLst>
              <a:gd name="adj" fmla="val 262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237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Maersk Headline Light"/>
                <a:ea typeface="+mn-ea"/>
                <a:cs typeface="+mn-cs"/>
              </a:rPr>
              <a:t>What We Are Doing Today (Value-Adding Initiativ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rgbClr val="696969">
                  <a:lumMod val="75000"/>
                </a:srgbClr>
              </a:solidFill>
              <a:latin typeface="Maersk Headline Ligh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696969">
                    <a:lumMod val="75000"/>
                  </a:srgbClr>
                </a:solidFill>
                <a:latin typeface="Maersk Headline Light"/>
              </a:rPr>
              <a:t>Workflow Implementation </a:t>
            </a:r>
            <a:r>
              <a:rPr lang="en-US" sz="1400" dirty="0">
                <a:solidFill>
                  <a:srgbClr val="696969">
                    <a:lumMod val="75000"/>
                  </a:srgbClr>
                </a:solidFill>
                <a:latin typeface="Maersk Headline Light"/>
              </a:rPr>
              <a:t>→ Enhancing efficiency and consistency in exec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696969">
                    <a:lumMod val="75000"/>
                  </a:srgbClr>
                </a:solidFill>
                <a:latin typeface="Maersk Headline Light"/>
              </a:rPr>
              <a:t>Milestone Clean-Up Initiative </a:t>
            </a:r>
            <a:r>
              <a:rPr lang="en-US" sz="1400" dirty="0">
                <a:solidFill>
                  <a:srgbClr val="696969">
                    <a:lumMod val="75000"/>
                  </a:srgbClr>
                </a:solidFill>
                <a:latin typeface="Maersk Headline Light"/>
              </a:rPr>
              <a:t>→ Reducing complexity (from 257 to ~20 milestones) for clarity and better reporting/user experi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696969">
                    <a:lumMod val="75000"/>
                  </a:srgbClr>
                </a:solidFill>
                <a:latin typeface="Maersk Headline Light"/>
              </a:rPr>
              <a:t>Tailor-Made CW1 Filters </a:t>
            </a:r>
            <a:r>
              <a:rPr lang="en-US" sz="1400" dirty="0">
                <a:solidFill>
                  <a:srgbClr val="696969">
                    <a:lumMod val="75000"/>
                  </a:srgbClr>
                </a:solidFill>
                <a:latin typeface="Maersk Headline Light"/>
              </a:rPr>
              <a:t>→ Training team working area by area to design custom filters that enable effective huddles, quick identification, and correction of sick fi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696969">
                    <a:lumMod val="75000"/>
                  </a:srgbClr>
                </a:solidFill>
                <a:latin typeface="Maersk Headline Light"/>
              </a:rPr>
              <a:t>Enhanced File Healer App </a:t>
            </a:r>
            <a:r>
              <a:rPr lang="en-US" sz="1400" dirty="0">
                <a:solidFill>
                  <a:srgbClr val="696969">
                    <a:lumMod val="75000"/>
                  </a:srgbClr>
                </a:solidFill>
                <a:latin typeface="Maersk Headline Light"/>
              </a:rPr>
              <a:t>→ Improving visibility for management to track sick files, driving adoption, accountability, and stronger perform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solidFill>
                  <a:srgbClr val="696969">
                    <a:lumMod val="75000"/>
                  </a:srgbClr>
                </a:solidFill>
                <a:latin typeface="Maersk Headline Light"/>
              </a:rPr>
              <a:t>Super User Engagement </a:t>
            </a:r>
            <a:r>
              <a:rPr lang="en-US" sz="1400" dirty="0">
                <a:solidFill>
                  <a:srgbClr val="696969">
                    <a:lumMod val="75000"/>
                  </a:srgbClr>
                </a:solidFill>
                <a:latin typeface="Maersk Headline Light"/>
              </a:rPr>
              <a:t>→ Building ownership and driving adoption across reg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rgbClr val="696969">
                  <a:lumMod val="75000"/>
                </a:srgbClr>
              </a:solidFill>
              <a:latin typeface="Maersk Headline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rgbClr val="696969">
                  <a:lumMod val="75000"/>
                </a:srgbClr>
              </a:solidFill>
              <a:latin typeface="Maersk Headline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Maersk Headline Light"/>
                <a:ea typeface="+mn-ea"/>
                <a:cs typeface="+mn-cs"/>
              </a:rPr>
              <a:t>Where We Need Alignment &amp; 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696969">
                    <a:lumMod val="75000"/>
                  </a:srgbClr>
                </a:solidFill>
                <a:effectLst/>
                <a:uLnTx/>
                <a:uFillTx/>
                <a:latin typeface="Maersk Headline Light"/>
                <a:ea typeface="+mn-ea"/>
                <a:cs typeface="+mn-cs"/>
              </a:rPr>
              <a:t>Clear Global Standards </a:t>
            </a:r>
          </a:p>
          <a:p>
            <a:pPr marR="0" lvl="0" algn="l" defTabSz="914400" rtl="0" eaLnBrk="1" fontAlgn="auto" latinLnBrk="0" hangingPunct="1">
              <a:lnSpc>
                <a:spcPct val="100000"/>
              </a:lnSpc>
              <a:spcBef>
                <a:spcPts val="0"/>
              </a:spcBef>
              <a:spcAft>
                <a:spcPts val="0"/>
              </a:spcAft>
              <a:buClrTx/>
              <a:buSzTx/>
              <a:tabLst/>
              <a:defRPr/>
            </a:pPr>
            <a:r>
              <a:rPr kumimoji="0" lang="en-US" sz="1400" i="0" u="none" strike="noStrike" kern="1200" cap="none" spc="0" normalizeH="0" baseline="0" noProof="0" dirty="0">
                <a:ln>
                  <a:noFill/>
                </a:ln>
                <a:solidFill>
                  <a:srgbClr val="696969">
                    <a:lumMod val="75000"/>
                  </a:srgbClr>
                </a:solidFill>
                <a:effectLst/>
                <a:uLnTx/>
                <a:uFillTx/>
                <a:latin typeface="Maersk Headline Light"/>
                <a:ea typeface="+mn-ea"/>
                <a:cs typeface="+mn-cs"/>
              </a:rPr>
              <a:t>→ Commit to ONE standard way of working / </a:t>
            </a:r>
            <a:r>
              <a:rPr kumimoji="0" lang="en-US" sz="1400" b="1" i="0" u="none" strike="noStrike" kern="1200" cap="none" spc="0" normalizeH="0" baseline="0" noProof="0" dirty="0">
                <a:ln>
                  <a:noFill/>
                </a:ln>
                <a:solidFill>
                  <a:schemeClr val="accent1"/>
                </a:solidFill>
                <a:effectLst/>
                <a:uLnTx/>
                <a:uFillTx/>
                <a:latin typeface="Maersk Headline Light"/>
                <a:ea typeface="+mn-ea"/>
                <a:cs typeface="+mn-cs"/>
              </a:rPr>
              <a:t>Decision needed on preferred reporting tool to be used and enhanced (Clear source </a:t>
            </a:r>
            <a:r>
              <a:rPr kumimoji="0" lang="en-US" sz="1400" b="1" i="0" u="none" strike="noStrike" kern="1200" cap="none" spc="0" normalizeH="0" baseline="0" noProof="0">
                <a:ln>
                  <a:noFill/>
                </a:ln>
                <a:solidFill>
                  <a:schemeClr val="accent1"/>
                </a:solidFill>
                <a:effectLst/>
                <a:uLnTx/>
                <a:uFillTx/>
                <a:latin typeface="Maersk Headline Light"/>
                <a:ea typeface="+mn-ea"/>
                <a:cs typeface="+mn-cs"/>
              </a:rPr>
              <a:t>of info)</a:t>
            </a:r>
            <a:endParaRPr kumimoji="0" lang="en-US" sz="1400" b="1" i="0" u="none" strike="noStrike" kern="1200" cap="none" spc="0" normalizeH="0" baseline="0" noProof="0" dirty="0">
              <a:ln>
                <a:noFill/>
              </a:ln>
              <a:solidFill>
                <a:schemeClr val="accent1"/>
              </a:solidFill>
              <a:effectLst/>
              <a:uLnTx/>
              <a:uFillTx/>
              <a:latin typeface="Maersk Headline Light"/>
              <a:ea typeface="+mn-ea"/>
              <a:cs typeface="+mn-cs"/>
            </a:endParaRPr>
          </a:p>
          <a:p>
            <a:pPr lvl="0">
              <a:defRPr/>
            </a:pPr>
            <a:r>
              <a:rPr lang="en-US" sz="1400" dirty="0">
                <a:solidFill>
                  <a:srgbClr val="696969">
                    <a:lumMod val="75000"/>
                  </a:srgbClr>
                </a:solidFill>
                <a:latin typeface="Maersk Headline Light"/>
              </a:rPr>
              <a:t>→ Agreement </a:t>
            </a:r>
            <a:r>
              <a:rPr kumimoji="0" lang="en-US" sz="1400" i="0" u="none" strike="noStrike" kern="1200" cap="none" spc="0" normalizeH="0" baseline="0" noProof="0" dirty="0">
                <a:ln>
                  <a:noFill/>
                </a:ln>
                <a:solidFill>
                  <a:srgbClr val="696969">
                    <a:lumMod val="75000"/>
                  </a:srgbClr>
                </a:solidFill>
                <a:effectLst/>
                <a:uLnTx/>
                <a:uFillTx/>
                <a:latin typeface="Maersk Headline Light"/>
                <a:ea typeface="+mn-ea"/>
                <a:cs typeface="+mn-cs"/>
              </a:rPr>
              <a:t>on the right tool for your role (We all give the same message in Cen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strike="noStrike" kern="1200" cap="none" spc="0" normalizeH="0" baseline="0" noProof="0" dirty="0">
                <a:ln>
                  <a:noFill/>
                </a:ln>
                <a:solidFill>
                  <a:srgbClr val="696969">
                    <a:lumMod val="75000"/>
                  </a:srgbClr>
                </a:solidFill>
                <a:effectLst/>
                <a:uLnTx/>
                <a:uFillTx/>
                <a:latin typeface="Maersk Headline Light"/>
                <a:ea typeface="+mn-ea"/>
                <a:cs typeface="+mn-cs"/>
              </a:rPr>
              <a:t>System Adoption Accountability </a:t>
            </a:r>
          </a:p>
          <a:p>
            <a:pPr marR="0" lvl="0" algn="l" defTabSz="914400" rtl="0" eaLnBrk="1" fontAlgn="auto" latinLnBrk="0" hangingPunct="1">
              <a:lnSpc>
                <a:spcPct val="100000"/>
              </a:lnSpc>
              <a:spcBef>
                <a:spcPts val="0"/>
              </a:spcBef>
              <a:spcAft>
                <a:spcPts val="0"/>
              </a:spcAft>
              <a:buClrTx/>
              <a:buSzTx/>
              <a:tabLst/>
              <a:defRPr/>
            </a:pPr>
            <a:r>
              <a:rPr kumimoji="0" lang="en-US" sz="1400" i="0" u="none" strike="noStrike" kern="1200" cap="none" spc="0" normalizeH="0" baseline="0" noProof="0" dirty="0">
                <a:ln>
                  <a:noFill/>
                </a:ln>
                <a:solidFill>
                  <a:srgbClr val="696969">
                    <a:lumMod val="75000"/>
                  </a:srgbClr>
                </a:solidFill>
                <a:effectLst/>
                <a:uLnTx/>
                <a:uFillTx/>
                <a:latin typeface="Maersk Headline Light"/>
                <a:ea typeface="+mn-ea"/>
                <a:cs typeface="+mn-cs"/>
              </a:rPr>
              <a:t>→ Ensuring operators use CW1 fully, managers leverage dashboards, and leaders drive adop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696969">
                    <a:lumMod val="75000"/>
                  </a:srgbClr>
                </a:solidFill>
                <a:effectLst/>
                <a:uLnTx/>
                <a:uFillTx/>
                <a:latin typeface="Maersk Headline Light"/>
                <a:ea typeface="+mn-ea"/>
                <a:cs typeface="+mn-cs"/>
              </a:rPr>
              <a:t>Sustainability &amp; Change Management </a:t>
            </a:r>
            <a:r>
              <a:rPr kumimoji="0" lang="en-US" sz="1400" i="0" u="none" strike="noStrike" kern="1200" cap="none" spc="0" normalizeH="0" baseline="0" noProof="0" dirty="0">
                <a:ln>
                  <a:noFill/>
                </a:ln>
                <a:solidFill>
                  <a:srgbClr val="696969">
                    <a:lumMod val="75000"/>
                  </a:srgbClr>
                </a:solidFill>
                <a:effectLst/>
                <a:uLnTx/>
                <a:uFillTx/>
                <a:latin typeface="Maersk Headline Light"/>
                <a:ea typeface="+mn-ea"/>
                <a:cs typeface="+mn-cs"/>
              </a:rPr>
              <a:t>→ Ongoing reinforcement, communication, and sponsorship from leadership to embed practices with the support of BCM/BPE/OPEX Teams</a:t>
            </a:r>
            <a:endParaRPr kumimoji="0" lang="en-GB" sz="1400" i="0" u="none" strike="noStrike" kern="1200" cap="none" spc="0" normalizeH="0" baseline="0" noProof="0" dirty="0">
              <a:ln>
                <a:noFill/>
              </a:ln>
              <a:solidFill>
                <a:srgbClr val="696969">
                  <a:lumMod val="75000"/>
                </a:srgbClr>
              </a:solidFill>
              <a:effectLst/>
              <a:uLnTx/>
              <a:uFillTx/>
              <a:latin typeface="Maersk Headline Light"/>
              <a:ea typeface="+mn-ea"/>
              <a:cs typeface="+mn-cs"/>
            </a:endParaRPr>
          </a:p>
        </p:txBody>
      </p:sp>
      <p:sp>
        <p:nvSpPr>
          <p:cNvPr id="2" name="Title 1">
            <a:extLst>
              <a:ext uri="{FF2B5EF4-FFF2-40B4-BE49-F238E27FC236}">
                <a16:creationId xmlns:a16="http://schemas.microsoft.com/office/drawing/2014/main" id="{155E5B93-6FA1-6743-CCE3-9C442F4DB47B}"/>
              </a:ext>
            </a:extLst>
          </p:cNvPr>
          <p:cNvSpPr>
            <a:spLocks noGrp="1"/>
          </p:cNvSpPr>
          <p:nvPr>
            <p:ph type="title"/>
          </p:nvPr>
        </p:nvSpPr>
        <p:spPr/>
        <p:txBody>
          <a:bodyPr/>
          <a:lstStyle/>
          <a:p>
            <a:r>
              <a:rPr lang="en-GB" sz="3200" noProof="0" dirty="0">
                <a:solidFill>
                  <a:schemeClr val="accent1"/>
                </a:solidFill>
              </a:rPr>
              <a:t>Call to ACTION </a:t>
            </a:r>
            <a:r>
              <a:rPr lang="en-GB" sz="3200" noProof="0" dirty="0"/>
              <a:t>– Driving Value Together</a:t>
            </a:r>
          </a:p>
        </p:txBody>
      </p:sp>
      <p:sp>
        <p:nvSpPr>
          <p:cNvPr id="3" name="Date Placeholder 2">
            <a:extLst>
              <a:ext uri="{FF2B5EF4-FFF2-40B4-BE49-F238E27FC236}">
                <a16:creationId xmlns:a16="http://schemas.microsoft.com/office/drawing/2014/main" id="{3713FF1C-6889-F9C0-EFA5-151CE97385F8}"/>
              </a:ext>
            </a:extLst>
          </p:cNvPr>
          <p:cNvSpPr>
            <a:spLocks noGrp="1"/>
          </p:cNvSpPr>
          <p:nvPr>
            <p:ph type="dt" sz="half" idx="10"/>
          </p:nvPr>
        </p:nvSpPr>
        <p:spPr>
          <a:xfrm>
            <a:off x="36576" y="6702552"/>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 b="0" i="0" u="none" strike="noStrike" kern="1200" cap="none" spc="0" normalizeH="0" baseline="0" noProof="0" dirty="0">
              <a:ln>
                <a:noFill/>
              </a:ln>
              <a:noFill/>
              <a:effectLst/>
              <a:uLnTx/>
              <a:uFillTx/>
              <a:latin typeface="Maersk Text"/>
              <a:ea typeface="+mn-ea"/>
              <a:cs typeface="+mn-cs"/>
            </a:endParaRPr>
          </a:p>
        </p:txBody>
      </p:sp>
    </p:spTree>
    <p:extLst>
      <p:ext uri="{BB962C8B-B14F-4D97-AF65-F5344CB8AC3E}">
        <p14:creationId xmlns:p14="http://schemas.microsoft.com/office/powerpoint/2010/main" val="3101449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5D0BB-D71B-BBBC-8F4F-734ACB95A77A}"/>
              </a:ext>
            </a:extLst>
          </p:cNvPr>
          <p:cNvSpPr>
            <a:spLocks noGrp="1"/>
          </p:cNvSpPr>
          <p:nvPr>
            <p:ph type="title"/>
          </p:nvPr>
        </p:nvSpPr>
        <p:spPr>
          <a:xfrm>
            <a:off x="456775" y="2950458"/>
            <a:ext cx="11463338" cy="1318735"/>
          </a:xfrm>
        </p:spPr>
        <p:txBody>
          <a:bodyPr/>
          <a:lstStyle/>
          <a:p>
            <a:r>
              <a:rPr lang="en-001" sz="4800" dirty="0"/>
              <a:t>Thank you!</a:t>
            </a:r>
            <a:br>
              <a:rPr lang="en-US" sz="4800" dirty="0"/>
            </a:br>
            <a:br>
              <a:rPr lang="en-US" sz="4800" dirty="0"/>
            </a:br>
            <a:r>
              <a:rPr lang="en-US" sz="1400" dirty="0"/>
              <a:t>For support on how to embed this way of working into your daily operations, please reach out to the Business Change Air &amp; LCL team: </a:t>
            </a:r>
            <a:br>
              <a:rPr lang="en-US" sz="1400" dirty="0"/>
            </a:br>
            <a:r>
              <a:rPr lang="en-US" sz="1400" dirty="0"/>
              <a:t>+D TbM GPL BCM Air &amp; LCL &lt;TbMGPLBCMAir&amp;LCL@maersk.onmicrosoft.com&gt;</a:t>
            </a:r>
            <a:endParaRPr lang="en-001" sz="4800" dirty="0"/>
          </a:p>
        </p:txBody>
      </p:sp>
      <p:sp>
        <p:nvSpPr>
          <p:cNvPr id="3" name="Date Placeholder 2">
            <a:extLst>
              <a:ext uri="{FF2B5EF4-FFF2-40B4-BE49-F238E27FC236}">
                <a16:creationId xmlns:a16="http://schemas.microsoft.com/office/drawing/2014/main" id="{5BEA38E8-1B5F-C047-A976-9E4D4F3405E0}"/>
              </a:ext>
            </a:extLst>
          </p:cNvPr>
          <p:cNvSpPr>
            <a:spLocks noGrp="1"/>
          </p:cNvSpPr>
          <p:nvPr>
            <p:ph type="dt" sz="half"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 b="0" i="0" u="none" strike="noStrike" kern="1200" cap="none" spc="0" normalizeH="0" baseline="0" noProof="0" dirty="0">
              <a:ln>
                <a:noFill/>
              </a:ln>
              <a:noFill/>
              <a:effectLst/>
              <a:uLnTx/>
              <a:uFillTx/>
              <a:latin typeface="Maersk Text"/>
              <a:ea typeface="+mn-ea"/>
              <a:cs typeface="+mn-cs"/>
            </a:endParaRPr>
          </a:p>
        </p:txBody>
      </p:sp>
    </p:spTree>
    <p:extLst>
      <p:ext uri="{BB962C8B-B14F-4D97-AF65-F5344CB8AC3E}">
        <p14:creationId xmlns:p14="http://schemas.microsoft.com/office/powerpoint/2010/main" val="2204556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noChangeAspect="1"/>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83" name="Object 82"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a:xfrm>
            <a:off x="409653" y="295745"/>
            <a:ext cx="11372693"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p>
            <a:pPr marL="4763"/>
            <a:r>
              <a:rPr lang="en-US" sz="2000" dirty="0"/>
              <a:t>OPEX is built on 5 pillars for a sustainable lean performance that must work together to be successful</a:t>
            </a:r>
          </a:p>
        </p:txBody>
      </p:sp>
      <p:sp>
        <p:nvSpPr>
          <p:cNvPr id="74" name="Rectangle 17"/>
          <p:cNvSpPr>
            <a:spLocks noChangeArrowheads="1"/>
          </p:cNvSpPr>
          <p:nvPr/>
        </p:nvSpPr>
        <p:spPr bwMode="gray">
          <a:xfrm>
            <a:off x="7809919" y="736721"/>
            <a:ext cx="2410127" cy="45719"/>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latin typeface="+mj-lt"/>
            </a:endParaRPr>
          </a:p>
        </p:txBody>
      </p:sp>
      <p:sp>
        <p:nvSpPr>
          <p:cNvPr id="77" name="Rectangle 22"/>
          <p:cNvSpPr>
            <a:spLocks noChangeArrowheads="1"/>
          </p:cNvSpPr>
          <p:nvPr/>
        </p:nvSpPr>
        <p:spPr bwMode="gray">
          <a:xfrm>
            <a:off x="7809920" y="818255"/>
            <a:ext cx="2410127" cy="209437"/>
          </a:xfrm>
          <a:prstGeom prst="rect">
            <a:avLst/>
          </a:prstGeom>
          <a:solidFill>
            <a:schemeClr val="accent3"/>
          </a:solidFill>
          <a:ln w="9525" algn="ctr">
            <a:solidFill>
              <a:schemeClr val="accent3"/>
            </a:solidFill>
            <a:miter lim="800000"/>
            <a:headEnd/>
            <a:tailEnd/>
          </a:ln>
          <a:effectLst/>
        </p:spPr>
        <p:txBody>
          <a:bodyPr lIns="73152" tIns="73152" rIns="73152" bIns="73152" anchor="ctr">
            <a:noAutofit/>
          </a:bodyPr>
          <a:lstStyle/>
          <a:p>
            <a:r>
              <a:rPr lang="en-US" sz="1000" b="1">
                <a:solidFill>
                  <a:schemeClr val="bg1"/>
                </a:solidFill>
              </a:rPr>
              <a:t>How To Drive?</a:t>
            </a:r>
          </a:p>
        </p:txBody>
      </p:sp>
      <p:sp>
        <p:nvSpPr>
          <p:cNvPr id="76" name="Freeform 19"/>
          <p:cNvSpPr>
            <a:spLocks/>
          </p:cNvSpPr>
          <p:nvPr/>
        </p:nvSpPr>
        <p:spPr bwMode="gray">
          <a:xfrm>
            <a:off x="2043849" y="636076"/>
            <a:ext cx="5598171" cy="152869"/>
          </a:xfrm>
          <a:custGeom>
            <a:avLst/>
            <a:gdLst>
              <a:gd name="T0" fmla="*/ 0 w 2069"/>
              <a:gd name="T1" fmla="*/ 129 h 195"/>
              <a:gd name="T2" fmla="*/ 1874 w 2069"/>
              <a:gd name="T3" fmla="*/ 129 h 195"/>
              <a:gd name="T4" fmla="*/ 1874 w 2069"/>
              <a:gd name="T5" fmla="*/ 0 h 195"/>
              <a:gd name="T6" fmla="*/ 2069 w 2069"/>
              <a:gd name="T7" fmla="*/ 195 h 195"/>
              <a:gd name="T8" fmla="*/ 0 w 2069"/>
              <a:gd name="T9" fmla="*/ 195 h 195"/>
              <a:gd name="connsiteX0" fmla="*/ 0 w 10000"/>
              <a:gd name="connsiteY0" fmla="*/ 6615 h 10000"/>
              <a:gd name="connsiteX1" fmla="*/ 9058 w 10000"/>
              <a:gd name="connsiteY1" fmla="*/ 6615 h 10000"/>
              <a:gd name="connsiteX2" fmla="*/ 9239 w 10000"/>
              <a:gd name="connsiteY2" fmla="*/ 0 h 10000"/>
              <a:gd name="connsiteX3" fmla="*/ 10000 w 10000"/>
              <a:gd name="connsiteY3" fmla="*/ 10000 h 10000"/>
              <a:gd name="connsiteX4" fmla="*/ 0 w 10000"/>
              <a:gd name="connsiteY4" fmla="*/ 10000 h 10000"/>
              <a:gd name="connsiteX0" fmla="*/ 0 w 10000"/>
              <a:gd name="connsiteY0" fmla="*/ 6615 h 10000"/>
              <a:gd name="connsiteX1" fmla="*/ 9305 w 10000"/>
              <a:gd name="connsiteY1" fmla="*/ 6615 h 10000"/>
              <a:gd name="connsiteX2" fmla="*/ 9239 w 10000"/>
              <a:gd name="connsiteY2" fmla="*/ 0 h 10000"/>
              <a:gd name="connsiteX3" fmla="*/ 10000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6615"/>
                </a:moveTo>
                <a:lnTo>
                  <a:pt x="9305" y="6615"/>
                </a:lnTo>
                <a:cubicBezTo>
                  <a:pt x="9365" y="4410"/>
                  <a:pt x="9179" y="2205"/>
                  <a:pt x="9239" y="0"/>
                </a:cubicBezTo>
                <a:cubicBezTo>
                  <a:pt x="9493" y="3333"/>
                  <a:pt x="9746" y="6667"/>
                  <a:pt x="10000" y="10000"/>
                </a:cubicBezTo>
                <a:lnTo>
                  <a:pt x="0" y="10000"/>
                </a:lnTo>
              </a:path>
            </a:pathLst>
          </a:custGeom>
          <a:gradFill flip="none" rotWithShape="1">
            <a:gsLst>
              <a:gs pos="0">
                <a:schemeClr val="accent1">
                  <a:lumMod val="40000"/>
                  <a:lumOff val="60000"/>
                </a:schemeClr>
              </a:gs>
              <a:gs pos="100000">
                <a:schemeClr val="accent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a:solidFill>
                <a:schemeClr val="tx1"/>
              </a:solidFill>
            </a:endParaRPr>
          </a:p>
        </p:txBody>
      </p:sp>
      <p:sp>
        <p:nvSpPr>
          <p:cNvPr id="78" name="Rectangle 26"/>
          <p:cNvSpPr>
            <a:spLocks noChangeArrowheads="1"/>
          </p:cNvSpPr>
          <p:nvPr/>
        </p:nvSpPr>
        <p:spPr bwMode="gray">
          <a:xfrm>
            <a:off x="2043849" y="818254"/>
            <a:ext cx="5598171" cy="206510"/>
          </a:xfrm>
          <a:prstGeom prst="rect">
            <a:avLst/>
          </a:prstGeom>
          <a:solidFill>
            <a:schemeClr val="accent1"/>
          </a:solidFill>
          <a:ln w="9525" algn="ctr">
            <a:solidFill>
              <a:schemeClr val="accent1"/>
            </a:solidFill>
            <a:miter lim="800000"/>
            <a:headEnd/>
            <a:tailEnd/>
          </a:ln>
          <a:effectLst/>
          <a:extLst>
            <a:ext uri="{AF507438-7753-43E0-B8FC-AC1667EBCBE1}">
              <a14:hiddenEffects xmlns:a14="http://schemas.microsoft.com/office/drawing/2010/main">
                <a:effectLst>
                  <a:outerShdw dist="17961" dir="2700000" algn="ctr" rotWithShape="0">
                    <a:schemeClr val="accent1">
                      <a:gamma/>
                      <a:shade val="60000"/>
                      <a:invGamma/>
                      <a:alpha val="50000"/>
                    </a:schemeClr>
                  </a:outerShdw>
                </a:effectLst>
              </a14:hiddenEffects>
            </a:ext>
          </a:extLst>
        </p:spPr>
        <p:txBody>
          <a:bodyPr lIns="72009" tIns="72009" rIns="72009" bIns="72009" anchor="ctr">
            <a:noAutofit/>
          </a:bodyPr>
          <a:lstStyle/>
          <a:p>
            <a:r>
              <a:rPr lang="en-US" sz="1000" b="1">
                <a:solidFill>
                  <a:schemeClr val="bg1"/>
                </a:solidFill>
              </a:rPr>
              <a:t>Our Lean Management approach addresses 5 areas starting with customer</a:t>
            </a:r>
          </a:p>
        </p:txBody>
      </p:sp>
      <p:sp>
        <p:nvSpPr>
          <p:cNvPr id="86" name="Slide Number Placeholder 8"/>
          <p:cNvSpPr>
            <a:spLocks noGrp="1"/>
          </p:cNvSpPr>
          <p:nvPr>
            <p:ph type="sldNum" sz="quarter" idx="4294967295"/>
          </p:nvPr>
        </p:nvSpPr>
        <p:spPr bwMode="gray">
          <a:xfrm>
            <a:off x="83924" y="6519789"/>
            <a:ext cx="385042" cy="230832"/>
          </a:xfrm>
          <a:prstGeom prst="rect">
            <a:avLst/>
          </a:prstGeom>
        </p:spPr>
        <p:txBody>
          <a:bodyPr vert="horz" wrap="none" lIns="91440" tIns="45720" rIns="91440" bIns="45720" rtlCol="0" anchor="ctr">
            <a:spAutoFit/>
          </a:bodyPr>
          <a:lstStyle>
            <a:defPPr>
              <a:defRPr lang="en-US"/>
            </a:defPPr>
            <a:lvl1pPr marL="0" algn="l"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95D9087-60FE-ED43-B7E4-1DE39A33D433}" type="slidenum">
              <a:rPr lang="en-US" smtClean="0">
                <a:solidFill>
                  <a:srgbClr val="3A3335">
                    <a:tint val="75000"/>
                  </a:srgbClr>
                </a:solidFill>
              </a:rPr>
              <a:pPr/>
              <a:t>7</a:t>
            </a:fld>
            <a:endParaRPr lang="en-US"/>
          </a:p>
        </p:txBody>
      </p:sp>
      <p:sp>
        <p:nvSpPr>
          <p:cNvPr id="32" name="Rectangle 4"/>
          <p:cNvSpPr txBox="1"/>
          <p:nvPr/>
        </p:nvSpPr>
        <p:spPr bwMode="gray">
          <a:xfrm>
            <a:off x="7829787" y="1085228"/>
            <a:ext cx="2357772" cy="32316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85725" lvl="1" indent="-85725"/>
            <a:r>
              <a:rPr lang="en-US" sz="1000" b="1">
                <a:solidFill>
                  <a:schemeClr val="accent2"/>
                </a:solidFill>
              </a:rPr>
              <a:t>All 5 components of the OPEX Car must work together for the car to drive.</a:t>
            </a:r>
            <a:br>
              <a:rPr lang="en-US" sz="1000" b="1">
                <a:solidFill>
                  <a:schemeClr val="accent2"/>
                </a:solidFill>
              </a:rPr>
            </a:br>
            <a:endParaRPr lang="en-US" sz="1000" b="1">
              <a:solidFill>
                <a:schemeClr val="accent2"/>
              </a:solidFill>
            </a:endParaRPr>
          </a:p>
          <a:p>
            <a:pPr marL="266700" lvl="2" indent="-180975"/>
            <a:r>
              <a:rPr lang="en-US" sz="1000"/>
              <a:t>If the </a:t>
            </a:r>
            <a:r>
              <a:rPr lang="en-US" sz="1000" b="1"/>
              <a:t>engine</a:t>
            </a:r>
            <a:r>
              <a:rPr lang="en-US" sz="1000"/>
              <a:t> does not work – the car wont start</a:t>
            </a:r>
          </a:p>
          <a:p>
            <a:pPr marL="266700" lvl="2" indent="-180975"/>
            <a:endParaRPr lang="en-US" sz="1000"/>
          </a:p>
          <a:p>
            <a:pPr marL="266700" lvl="2" indent="-180975"/>
            <a:r>
              <a:rPr lang="en-US" sz="1000"/>
              <a:t>If we do not have a </a:t>
            </a:r>
            <a:r>
              <a:rPr lang="en-US" sz="1000" b="1"/>
              <a:t>steering whee</a:t>
            </a:r>
            <a:r>
              <a:rPr lang="en-US" sz="1000"/>
              <a:t>l – we cannot control the car</a:t>
            </a:r>
          </a:p>
          <a:p>
            <a:pPr marL="266700" lvl="2" indent="-180975"/>
            <a:endParaRPr lang="en-US" sz="1000"/>
          </a:p>
          <a:p>
            <a:pPr marL="266700" lvl="2" indent="-180975"/>
            <a:r>
              <a:rPr lang="en-US" sz="1000"/>
              <a:t>If </a:t>
            </a:r>
            <a:r>
              <a:rPr lang="en-US" sz="1000" b="1"/>
              <a:t>the driver </a:t>
            </a:r>
            <a:r>
              <a:rPr lang="en-US" sz="1000"/>
              <a:t>does not know how to operate – we might crash</a:t>
            </a:r>
          </a:p>
          <a:p>
            <a:pPr marL="266700" lvl="2" indent="-180975"/>
            <a:endParaRPr lang="en-US" sz="1000"/>
          </a:p>
          <a:p>
            <a:pPr marL="266700" lvl="2" indent="-180975"/>
            <a:r>
              <a:rPr lang="en-US" sz="1000"/>
              <a:t>If we do not have any </a:t>
            </a:r>
            <a:r>
              <a:rPr lang="en-US" sz="1000" b="1"/>
              <a:t>fuel</a:t>
            </a:r>
            <a:r>
              <a:rPr lang="en-US" sz="1000"/>
              <a:t> - we will not go anywhere</a:t>
            </a:r>
          </a:p>
          <a:p>
            <a:pPr marL="266700" lvl="2" indent="-180975"/>
            <a:endParaRPr lang="en-US" sz="1000"/>
          </a:p>
          <a:p>
            <a:pPr marL="266700" lvl="2" indent="-180975"/>
            <a:r>
              <a:rPr lang="en-US" sz="1000"/>
              <a:t>Without the </a:t>
            </a:r>
            <a:r>
              <a:rPr lang="en-US" sz="1000" b="1"/>
              <a:t>GPS</a:t>
            </a:r>
            <a:r>
              <a:rPr lang="en-US" sz="1000"/>
              <a:t> - we do not know where we are going</a:t>
            </a:r>
          </a:p>
          <a:p>
            <a:pPr marL="266700" lvl="2" indent="-180975"/>
            <a:endParaRPr lang="en-US" sz="1000"/>
          </a:p>
          <a:p>
            <a:pPr marL="85725" lvl="1" indent="-84138"/>
            <a:r>
              <a:rPr lang="en-US" sz="1000" b="1">
                <a:solidFill>
                  <a:schemeClr val="accent2"/>
                </a:solidFill>
              </a:rPr>
              <a:t>Combining these five elements will enable us to drive the road to success</a:t>
            </a:r>
          </a:p>
        </p:txBody>
      </p:sp>
      <p:grpSp>
        <p:nvGrpSpPr>
          <p:cNvPr id="3" name="Group 34"/>
          <p:cNvGrpSpPr/>
          <p:nvPr/>
        </p:nvGrpSpPr>
        <p:grpSpPr>
          <a:xfrm>
            <a:off x="2043849" y="1085229"/>
            <a:ext cx="5598170" cy="4687541"/>
            <a:chOff x="300775" y="1500860"/>
            <a:chExt cx="5598170" cy="4687541"/>
          </a:xfrm>
        </p:grpSpPr>
        <p:sp>
          <p:nvSpPr>
            <p:cNvPr id="36" name="Rectangle 44"/>
            <p:cNvSpPr>
              <a:spLocks noChangeArrowheads="1"/>
            </p:cNvSpPr>
            <p:nvPr>
              <p:custDataLst>
                <p:tags r:id="rId2"/>
              </p:custDataLst>
            </p:nvPr>
          </p:nvSpPr>
          <p:spPr bwMode="gray">
            <a:xfrm>
              <a:off x="300775" y="4001745"/>
              <a:ext cx="2684076" cy="2186656"/>
            </a:xfrm>
            <a:prstGeom prst="rect">
              <a:avLst/>
            </a:prstGeom>
            <a:solidFill>
              <a:srgbClr val="99CC00"/>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5" tIns="46648" rIns="93295" bIns="46648" anchor="ctr">
              <a:noAutofit/>
            </a:bodyPr>
            <a:lstStyle/>
            <a:p>
              <a:endParaRPr lang="en-US" sz="1000"/>
            </a:p>
          </p:txBody>
        </p:sp>
        <p:sp>
          <p:nvSpPr>
            <p:cNvPr id="37" name="Rectangle 45"/>
            <p:cNvSpPr>
              <a:spLocks noChangeArrowheads="1"/>
            </p:cNvSpPr>
            <p:nvPr>
              <p:custDataLst>
                <p:tags r:id="rId3"/>
              </p:custDataLst>
            </p:nvPr>
          </p:nvSpPr>
          <p:spPr bwMode="gray">
            <a:xfrm>
              <a:off x="3158175" y="1500860"/>
              <a:ext cx="2740770" cy="2278982"/>
            </a:xfrm>
            <a:prstGeom prst="rect">
              <a:avLst/>
            </a:prstGeom>
            <a:solidFill>
              <a:srgbClr val="D7E4EC"/>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5" tIns="46648" rIns="93295" bIns="46648" anchor="ctr">
              <a:noAutofit/>
            </a:bodyPr>
            <a:lstStyle/>
            <a:p>
              <a:endParaRPr lang="en-US" sz="1000"/>
            </a:p>
          </p:txBody>
        </p:sp>
        <p:sp>
          <p:nvSpPr>
            <p:cNvPr id="38" name="Rectangle 46"/>
            <p:cNvSpPr>
              <a:spLocks noChangeArrowheads="1"/>
            </p:cNvSpPr>
            <p:nvPr>
              <p:custDataLst>
                <p:tags r:id="rId4"/>
              </p:custDataLst>
            </p:nvPr>
          </p:nvSpPr>
          <p:spPr bwMode="gray">
            <a:xfrm>
              <a:off x="3158175" y="4001745"/>
              <a:ext cx="2740770" cy="2186656"/>
            </a:xfrm>
            <a:prstGeom prst="rect">
              <a:avLst/>
            </a:prstGeom>
            <a:solidFill>
              <a:srgbClr val="0099FF"/>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5" tIns="46648" rIns="93295" bIns="46648" anchor="ctr">
              <a:noAutofit/>
            </a:bodyPr>
            <a:lstStyle/>
            <a:p>
              <a:endParaRPr lang="en-US" sz="1000"/>
            </a:p>
          </p:txBody>
        </p:sp>
        <p:sp>
          <p:nvSpPr>
            <p:cNvPr id="42" name="Rectangle 50"/>
            <p:cNvSpPr>
              <a:spLocks noChangeArrowheads="1"/>
            </p:cNvSpPr>
            <p:nvPr>
              <p:custDataLst>
                <p:tags r:id="rId5"/>
              </p:custDataLst>
            </p:nvPr>
          </p:nvSpPr>
          <p:spPr bwMode="gray">
            <a:xfrm>
              <a:off x="300775" y="1500860"/>
              <a:ext cx="2684076" cy="2278982"/>
            </a:xfrm>
            <a:prstGeom prst="rect">
              <a:avLst/>
            </a:prstGeom>
            <a:solidFill>
              <a:srgbClr val="FFCC00"/>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277" tIns="43639" rIns="87277" bIns="43639" anchor="ctr">
              <a:noAutofit/>
            </a:bodyPr>
            <a:lstStyle/>
            <a:p>
              <a:endParaRPr lang="en-US" sz="1000"/>
            </a:p>
          </p:txBody>
        </p:sp>
        <p:sp>
          <p:nvSpPr>
            <p:cNvPr id="51" name="Rectangle 59"/>
            <p:cNvSpPr>
              <a:spLocks noChangeArrowheads="1"/>
            </p:cNvSpPr>
            <p:nvPr>
              <p:custDataLst>
                <p:tags r:id="rId6"/>
              </p:custDataLst>
            </p:nvPr>
          </p:nvSpPr>
          <p:spPr bwMode="gray">
            <a:xfrm>
              <a:off x="388247" y="4130509"/>
              <a:ext cx="2340670" cy="153888"/>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b="1">
                  <a:latin typeface="+mn-lt"/>
                </a:rPr>
                <a:t>Mindsets &amp; </a:t>
              </a:r>
              <a:r>
                <a:rPr lang="en-US" sz="1000" b="1" err="1">
                  <a:latin typeface="+mn-lt"/>
                </a:rPr>
                <a:t>Behaviours</a:t>
              </a:r>
              <a:endParaRPr lang="en-US" sz="1000" b="1">
                <a:latin typeface="+mn-lt"/>
              </a:endParaRPr>
            </a:p>
          </p:txBody>
        </p:sp>
        <p:sp>
          <p:nvSpPr>
            <p:cNvPr id="52" name="Rectangle 60"/>
            <p:cNvSpPr>
              <a:spLocks noChangeArrowheads="1"/>
            </p:cNvSpPr>
            <p:nvPr>
              <p:custDataLst>
                <p:tags r:id="rId7"/>
              </p:custDataLst>
            </p:nvPr>
          </p:nvSpPr>
          <p:spPr bwMode="gray">
            <a:xfrm>
              <a:off x="3775335" y="4120790"/>
              <a:ext cx="2037759" cy="153888"/>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b="1">
                  <a:solidFill>
                    <a:schemeClr val="bg1"/>
                  </a:solidFill>
                  <a:latin typeface="+mn-lt"/>
                </a:rPr>
                <a:t>Organization &amp; Skills</a:t>
              </a:r>
            </a:p>
          </p:txBody>
        </p:sp>
        <p:sp>
          <p:nvSpPr>
            <p:cNvPr id="53" name="Rectangle 61"/>
            <p:cNvSpPr>
              <a:spLocks noChangeArrowheads="1"/>
            </p:cNvSpPr>
            <p:nvPr>
              <p:custDataLst>
                <p:tags r:id="rId8"/>
              </p:custDataLst>
            </p:nvPr>
          </p:nvSpPr>
          <p:spPr bwMode="gray">
            <a:xfrm>
              <a:off x="3223462" y="1726005"/>
              <a:ext cx="2029661" cy="153888"/>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b="1">
                  <a:latin typeface="+mn-lt"/>
                </a:rPr>
                <a:t>Performance Management</a:t>
              </a:r>
            </a:p>
          </p:txBody>
        </p:sp>
        <p:sp>
          <p:nvSpPr>
            <p:cNvPr id="54" name="Rectangle 62"/>
            <p:cNvSpPr>
              <a:spLocks noChangeArrowheads="1"/>
            </p:cNvSpPr>
            <p:nvPr>
              <p:custDataLst>
                <p:tags r:id="rId9"/>
              </p:custDataLst>
            </p:nvPr>
          </p:nvSpPr>
          <p:spPr bwMode="gray">
            <a:xfrm>
              <a:off x="388248" y="1649060"/>
              <a:ext cx="2565827" cy="153888"/>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b="1">
                  <a:latin typeface="+mn-lt"/>
                </a:rPr>
                <a:t>Process Effectiveness and Efficiency</a:t>
              </a:r>
            </a:p>
          </p:txBody>
        </p:sp>
        <p:sp>
          <p:nvSpPr>
            <p:cNvPr id="61" name="AutoShape 69"/>
            <p:cNvSpPr>
              <a:spLocks noChangeArrowheads="1"/>
            </p:cNvSpPr>
            <p:nvPr>
              <p:custDataLst>
                <p:tags r:id="rId10"/>
              </p:custDataLst>
            </p:nvPr>
          </p:nvSpPr>
          <p:spPr bwMode="gray">
            <a:xfrm>
              <a:off x="2342230" y="3156240"/>
              <a:ext cx="1477295" cy="1405938"/>
            </a:xfrm>
            <a:custGeom>
              <a:avLst/>
              <a:gdLst>
                <a:gd name="G0" fmla="+- 2928 0 0"/>
                <a:gd name="G1" fmla="+- 21600 0 2928"/>
                <a:gd name="G2" fmla="+- 21600 0 2928"/>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928" y="10800"/>
                  </a:moveTo>
                  <a:cubicBezTo>
                    <a:pt x="2928" y="15148"/>
                    <a:pt x="6452" y="18672"/>
                    <a:pt x="10800" y="18672"/>
                  </a:cubicBezTo>
                  <a:cubicBezTo>
                    <a:pt x="15148" y="18672"/>
                    <a:pt x="18672" y="15148"/>
                    <a:pt x="18672" y="10800"/>
                  </a:cubicBezTo>
                  <a:cubicBezTo>
                    <a:pt x="18672" y="6452"/>
                    <a:pt x="15148" y="2928"/>
                    <a:pt x="10800" y="2928"/>
                  </a:cubicBezTo>
                  <a:cubicBezTo>
                    <a:pt x="6452" y="2928"/>
                    <a:pt x="2928" y="6452"/>
                    <a:pt x="2928" y="10800"/>
                  </a:cubicBezTo>
                  <a:close/>
                </a:path>
              </a:pathLst>
            </a:cu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000"/>
            </a:p>
          </p:txBody>
        </p:sp>
      </p:grpSp>
      <p:pic>
        <p:nvPicPr>
          <p:cNvPr id="64515" name="Picture 3" descr="C:\Users\JEL060\AppData\Local\Microsoft\Windows\Temporary Internet Files\Content.IE5\T8ZE8N4N\MP910216411[1].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05541" y="2786013"/>
            <a:ext cx="1836821" cy="16002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57" name="Rectangle 60"/>
          <p:cNvSpPr>
            <a:spLocks noChangeArrowheads="1"/>
          </p:cNvSpPr>
          <p:nvPr/>
        </p:nvSpPr>
        <p:spPr bwMode="gray">
          <a:xfrm>
            <a:off x="4085305" y="3225714"/>
            <a:ext cx="1477295" cy="430887"/>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lgn="ctr">
              <a:spcBef>
                <a:spcPct val="10000"/>
              </a:spcBef>
              <a:spcAft>
                <a:spcPct val="10000"/>
              </a:spcAft>
            </a:pPr>
            <a:r>
              <a:rPr lang="en-US" sz="2800" b="1">
                <a:solidFill>
                  <a:srgbClr val="00215B"/>
                </a:solidFill>
                <a:latin typeface="+mn-lt"/>
              </a:rPr>
              <a:t>GPS</a:t>
            </a:r>
          </a:p>
        </p:txBody>
      </p:sp>
      <p:pic>
        <p:nvPicPr>
          <p:cNvPr id="64527" name="Picture 15" descr="C:\Users\JEL060\AppData\Local\Microsoft\Windows\Temporary Internet Files\Content.IE5\JY9WEMS1\MP900422647[1].jpg"/>
          <p:cNvPicPr>
            <a:picLocks noChangeAspect="1" noChangeArrowheads="1"/>
          </p:cNvPicPr>
          <p:nvPr/>
        </p:nvPicPr>
        <p:blipFill>
          <a:blip r:embed="rId16">
            <a:clrChange>
              <a:clrFrom>
                <a:srgbClr val="F8F2E7"/>
              </a:clrFrom>
              <a:clrTo>
                <a:srgbClr val="F8F2E7">
                  <a:alpha val="0"/>
                </a:srgbClr>
              </a:clrTo>
            </a:clrChange>
            <a:extLst>
              <a:ext uri="{BEBA8EAE-BF5A-486C-A8C5-ECC9F3942E4B}">
                <a14:imgProps xmlns:a14="http://schemas.microsoft.com/office/drawing/2010/main">
                  <a14:imgLayer r:embed="rId17">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924800" y="4552430"/>
            <a:ext cx="2061225" cy="1389716"/>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1"/>
          <p:cNvSpPr>
            <a:spLocks noChangeArrowheads="1"/>
          </p:cNvSpPr>
          <p:nvPr/>
        </p:nvSpPr>
        <p:spPr bwMode="gray">
          <a:xfrm>
            <a:off x="4952999" y="1699663"/>
            <a:ext cx="1535432" cy="769441"/>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dirty="0">
                <a:latin typeface="+mn-lt"/>
              </a:rPr>
              <a:t>Performance Management act like a </a:t>
            </a:r>
            <a:r>
              <a:rPr lang="en-US" sz="1000" b="1" dirty="0">
                <a:latin typeface="+mn-lt"/>
              </a:rPr>
              <a:t>steering wheel </a:t>
            </a:r>
            <a:r>
              <a:rPr lang="en-US" sz="1000" dirty="0">
                <a:latin typeface="+mn-lt"/>
              </a:rPr>
              <a:t>for the management. This enables them to drive the right processes</a:t>
            </a:r>
          </a:p>
        </p:txBody>
      </p:sp>
      <p:sp>
        <p:nvSpPr>
          <p:cNvPr id="68" name="Rectangle 61"/>
          <p:cNvSpPr>
            <a:spLocks noChangeArrowheads="1"/>
          </p:cNvSpPr>
          <p:nvPr/>
        </p:nvSpPr>
        <p:spPr bwMode="gray">
          <a:xfrm>
            <a:off x="2121302" y="1914867"/>
            <a:ext cx="1287369" cy="1077218"/>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a:latin typeface="+mn-lt"/>
              </a:rPr>
              <a:t>Process Effectiveness &amp; Efficiency is the </a:t>
            </a:r>
            <a:r>
              <a:rPr lang="en-US" sz="1000" b="1">
                <a:latin typeface="+mn-lt"/>
              </a:rPr>
              <a:t>engine</a:t>
            </a:r>
            <a:r>
              <a:rPr lang="en-US" sz="1000">
                <a:latin typeface="+mn-lt"/>
              </a:rPr>
              <a:t> of successful lean operations. This secures that processes are carried out in the optimal way</a:t>
            </a:r>
          </a:p>
        </p:txBody>
      </p:sp>
      <p:sp>
        <p:nvSpPr>
          <p:cNvPr id="69" name="Rectangle 61"/>
          <p:cNvSpPr>
            <a:spLocks noChangeArrowheads="1"/>
          </p:cNvSpPr>
          <p:nvPr/>
        </p:nvSpPr>
        <p:spPr bwMode="gray">
          <a:xfrm>
            <a:off x="2141631" y="4200124"/>
            <a:ext cx="1287369" cy="1231106"/>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a:latin typeface="+mn-lt"/>
              </a:rPr>
              <a:t>Mindsets &amp; </a:t>
            </a:r>
            <a:r>
              <a:rPr lang="en-US" sz="1000" err="1">
                <a:latin typeface="+mn-lt"/>
              </a:rPr>
              <a:t>Behaviour</a:t>
            </a:r>
            <a:r>
              <a:rPr lang="en-US" sz="1000">
                <a:latin typeface="+mn-lt"/>
              </a:rPr>
              <a:t> is </a:t>
            </a:r>
            <a:r>
              <a:rPr lang="en-US" sz="1000" b="1">
                <a:latin typeface="+mn-lt"/>
              </a:rPr>
              <a:t>the driver</a:t>
            </a:r>
            <a:r>
              <a:rPr lang="en-US" sz="1000">
                <a:latin typeface="+mn-lt"/>
              </a:rPr>
              <a:t> of the lean methodology. Without the right mindsets and </a:t>
            </a:r>
            <a:r>
              <a:rPr lang="en-US" sz="1000" err="1">
                <a:latin typeface="+mn-lt"/>
              </a:rPr>
              <a:t>behaviour</a:t>
            </a:r>
            <a:r>
              <a:rPr lang="en-US" sz="1000">
                <a:latin typeface="+mn-lt"/>
              </a:rPr>
              <a:t>, lean operations will go nowhere</a:t>
            </a:r>
          </a:p>
        </p:txBody>
      </p:sp>
      <p:sp>
        <p:nvSpPr>
          <p:cNvPr id="70" name="Rectangle 61"/>
          <p:cNvSpPr>
            <a:spLocks noChangeArrowheads="1"/>
          </p:cNvSpPr>
          <p:nvPr/>
        </p:nvSpPr>
        <p:spPr bwMode="gray">
          <a:xfrm>
            <a:off x="5012841" y="4507901"/>
            <a:ext cx="1287369" cy="769441"/>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defTabSz="855663">
              <a:defRPr sz="2400">
                <a:solidFill>
                  <a:schemeClr val="tx1"/>
                </a:solidFill>
                <a:latin typeface="Arial" charset="0"/>
              </a:defRPr>
            </a:lvl1pPr>
            <a:lvl2pPr marL="427038" defTabSz="855663">
              <a:defRPr sz="2400">
                <a:solidFill>
                  <a:schemeClr val="tx1"/>
                </a:solidFill>
                <a:latin typeface="Arial" charset="0"/>
              </a:defRPr>
            </a:lvl2pPr>
            <a:lvl3pPr marL="855663" defTabSz="855663">
              <a:defRPr sz="2400">
                <a:solidFill>
                  <a:schemeClr val="tx1"/>
                </a:solidFill>
                <a:latin typeface="Arial" charset="0"/>
              </a:defRPr>
            </a:lvl3pPr>
            <a:lvl4pPr marL="1282700" defTabSz="855663">
              <a:defRPr sz="2400">
                <a:solidFill>
                  <a:schemeClr val="tx1"/>
                </a:solidFill>
                <a:latin typeface="Arial" charset="0"/>
              </a:defRPr>
            </a:lvl4pPr>
            <a:lvl5pPr marL="1711325" defTabSz="855663">
              <a:defRPr sz="2400">
                <a:solidFill>
                  <a:schemeClr val="tx1"/>
                </a:solidFill>
                <a:latin typeface="Arial" charset="0"/>
              </a:defRPr>
            </a:lvl5pPr>
            <a:lvl6pPr marL="2168525" defTabSz="855663" fontAlgn="base">
              <a:spcBef>
                <a:spcPct val="0"/>
              </a:spcBef>
              <a:spcAft>
                <a:spcPct val="0"/>
              </a:spcAft>
              <a:defRPr sz="2400">
                <a:solidFill>
                  <a:schemeClr val="tx1"/>
                </a:solidFill>
                <a:latin typeface="Arial" charset="0"/>
              </a:defRPr>
            </a:lvl6pPr>
            <a:lvl7pPr marL="2625725" defTabSz="855663" fontAlgn="base">
              <a:spcBef>
                <a:spcPct val="0"/>
              </a:spcBef>
              <a:spcAft>
                <a:spcPct val="0"/>
              </a:spcAft>
              <a:defRPr sz="2400">
                <a:solidFill>
                  <a:schemeClr val="tx1"/>
                </a:solidFill>
                <a:latin typeface="Arial" charset="0"/>
              </a:defRPr>
            </a:lvl7pPr>
            <a:lvl8pPr marL="3082925" defTabSz="855663" fontAlgn="base">
              <a:spcBef>
                <a:spcPct val="0"/>
              </a:spcBef>
              <a:spcAft>
                <a:spcPct val="0"/>
              </a:spcAft>
              <a:defRPr sz="2400">
                <a:solidFill>
                  <a:schemeClr val="tx1"/>
                </a:solidFill>
                <a:latin typeface="Arial" charset="0"/>
              </a:defRPr>
            </a:lvl8pPr>
            <a:lvl9pPr marL="3540125" defTabSz="855663" fontAlgn="base">
              <a:spcBef>
                <a:spcPct val="0"/>
              </a:spcBef>
              <a:spcAft>
                <a:spcPct val="0"/>
              </a:spcAft>
              <a:defRPr sz="2400">
                <a:solidFill>
                  <a:schemeClr val="tx1"/>
                </a:solidFill>
                <a:latin typeface="Arial" charset="0"/>
              </a:defRPr>
            </a:lvl9pPr>
          </a:lstStyle>
          <a:p>
            <a:pPr>
              <a:spcBef>
                <a:spcPct val="10000"/>
              </a:spcBef>
              <a:spcAft>
                <a:spcPct val="10000"/>
              </a:spcAft>
            </a:pPr>
            <a:r>
              <a:rPr lang="en-US" sz="1000">
                <a:solidFill>
                  <a:schemeClr val="bg1"/>
                </a:solidFill>
                <a:latin typeface="+mn-lt"/>
              </a:rPr>
              <a:t>Organization &amp; Skills is the </a:t>
            </a:r>
            <a:r>
              <a:rPr lang="en-US" sz="1000" b="1">
                <a:solidFill>
                  <a:schemeClr val="bg1"/>
                </a:solidFill>
                <a:latin typeface="+mn-lt"/>
              </a:rPr>
              <a:t>fuel</a:t>
            </a:r>
            <a:r>
              <a:rPr lang="en-US" sz="1000">
                <a:solidFill>
                  <a:schemeClr val="bg1"/>
                </a:solidFill>
                <a:latin typeface="+mn-lt"/>
              </a:rPr>
              <a:t> that ensures that the lean operations keep running continuously.</a:t>
            </a:r>
          </a:p>
        </p:txBody>
      </p:sp>
      <p:pic>
        <p:nvPicPr>
          <p:cNvPr id="65540" name="Picture 4"/>
          <p:cNvPicPr>
            <a:picLocks noChangeAspect="1" noChangeArrowheads="1"/>
          </p:cNvPicPr>
          <p:nvPr/>
        </p:nvPicPr>
        <p:blipFill>
          <a:blip r:embed="rId1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73789" y="1693561"/>
            <a:ext cx="1354137" cy="1182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19">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6135" y="2144395"/>
            <a:ext cx="1123865" cy="1111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20">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6135" y="4697698"/>
            <a:ext cx="1000125" cy="1011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3" name="Picture 7"/>
          <p:cNvPicPr>
            <a:picLocks noChangeAspect="1" noChangeArrowheads="1"/>
          </p:cNvPicPr>
          <p:nvPr/>
        </p:nvPicPr>
        <p:blipFill>
          <a:blip r:embed="rId21">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73789" y="4739765"/>
            <a:ext cx="1262063" cy="927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McK 5. Source"/>
          <p:cNvSpPr>
            <a:spLocks noChangeArrowheads="1"/>
          </p:cNvSpPr>
          <p:nvPr/>
        </p:nvSpPr>
        <p:spPr bwMode="gray">
          <a:xfrm>
            <a:off x="1981200" y="6063073"/>
            <a:ext cx="7304379" cy="153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41350" indent="-641350" defTabSz="913526">
              <a:tabLst>
                <a:tab pos="642938" algn="l"/>
              </a:tabLst>
            </a:pPr>
            <a:r>
              <a:rPr lang="en-US" sz="1000">
                <a:solidFill>
                  <a:srgbClr val="000000"/>
                </a:solidFill>
              </a:rPr>
              <a:t>SOURCE: </a:t>
            </a:r>
            <a:r>
              <a:rPr lang="en-US" sz="1000" err="1">
                <a:solidFill>
                  <a:srgbClr val="000000"/>
                </a:solidFill>
              </a:rPr>
              <a:t>Opex</a:t>
            </a:r>
            <a:r>
              <a:rPr lang="en-US" sz="1000">
                <a:solidFill>
                  <a:srgbClr val="000000"/>
                </a:solidFill>
              </a:rPr>
              <a:t> Navigator Team</a:t>
            </a:r>
          </a:p>
        </p:txBody>
      </p:sp>
      <p:sp>
        <p:nvSpPr>
          <p:cNvPr id="33" name="TextBox 32">
            <a:extLst>
              <a:ext uri="{FF2B5EF4-FFF2-40B4-BE49-F238E27FC236}">
                <a16:creationId xmlns:a16="http://schemas.microsoft.com/office/drawing/2014/main" id="{D9DE8921-6369-4A43-BC21-32C9CA7C6919}"/>
              </a:ext>
            </a:extLst>
          </p:cNvPr>
          <p:cNvSpPr txBox="1"/>
          <p:nvPr/>
        </p:nvSpPr>
        <p:spPr>
          <a:xfrm>
            <a:off x="9246823" y="5839118"/>
            <a:ext cx="1068636"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452213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026"/>
          <p:cNvSpPr>
            <a:spLocks noGrp="1" noChangeArrowheads="1"/>
          </p:cNvSpPr>
          <p:nvPr>
            <p:ph type="title"/>
          </p:nvPr>
        </p:nvSpPr>
        <p:spPr/>
        <p:txBody>
          <a:bodyPr/>
          <a:lstStyle/>
          <a:p>
            <a:r>
              <a:rPr lang="en-GB"/>
              <a:t>The importance of Standard Work</a:t>
            </a:r>
            <a:endParaRPr lang="en-GB" dirty="0"/>
          </a:p>
        </p:txBody>
      </p:sp>
      <p:pic>
        <p:nvPicPr>
          <p:cNvPr id="66564" name="Picture 2"/>
          <p:cNvPicPr>
            <a:picLocks noChangeAspect="1" noChangeArrowheads="1"/>
          </p:cNvPicPr>
          <p:nvPr/>
        </p:nvPicPr>
        <p:blipFill>
          <a:blip r:embed="rId4" cstate="print"/>
          <a:srcRect/>
          <a:stretch>
            <a:fillRect/>
          </a:stretch>
        </p:blipFill>
        <p:spPr bwMode="auto">
          <a:xfrm>
            <a:off x="2266030" y="805951"/>
            <a:ext cx="7423966" cy="4404948"/>
          </a:xfrm>
          <a:prstGeom prst="rect">
            <a:avLst/>
          </a:prstGeom>
          <a:noFill/>
          <a:ln w="9525">
            <a:noFill/>
            <a:miter lim="800000"/>
            <a:headEnd/>
            <a:tailEnd/>
          </a:ln>
        </p:spPr>
      </p:pic>
      <p:sp>
        <p:nvSpPr>
          <p:cNvPr id="66565" name="Rectangle 1026"/>
          <p:cNvSpPr>
            <a:spLocks noChangeArrowheads="1"/>
          </p:cNvSpPr>
          <p:nvPr/>
        </p:nvSpPr>
        <p:spPr bwMode="auto">
          <a:xfrm>
            <a:off x="2842701" y="5291600"/>
            <a:ext cx="6418262" cy="461963"/>
          </a:xfrm>
          <a:prstGeom prst="rect">
            <a:avLst/>
          </a:prstGeom>
          <a:solidFill>
            <a:schemeClr val="accent2"/>
          </a:solidFill>
          <a:ln w="9525">
            <a:noFill/>
            <a:miter lim="800000"/>
            <a:headEnd/>
            <a:tailEnd/>
          </a:ln>
        </p:spPr>
        <p:txBody>
          <a:bodyPr wrap="none">
            <a:spAutoFit/>
          </a:bodyPr>
          <a:lstStyle/>
          <a:p>
            <a:pPr defTabSz="457200">
              <a:spcBef>
                <a:spcPct val="20000"/>
              </a:spcBef>
              <a:defRPr/>
            </a:pPr>
            <a:r>
              <a:rPr lang="en-GB" sz="2400" i="1" dirty="0">
                <a:solidFill>
                  <a:srgbClr val="FFFFFF"/>
                </a:solidFill>
                <a:latin typeface="Calibri" pitchFamily="34" charset="0"/>
              </a:rPr>
              <a:t>Making the “new way”  become the standard way</a:t>
            </a:r>
          </a:p>
        </p:txBody>
      </p:sp>
      <p:sp>
        <p:nvSpPr>
          <p:cNvPr id="66566" name="Slide Number Placeholder 6"/>
          <p:cNvSpPr txBox="1">
            <a:spLocks/>
          </p:cNvSpPr>
          <p:nvPr/>
        </p:nvSpPr>
        <p:spPr bwMode="auto">
          <a:xfrm>
            <a:off x="9886438" y="6025025"/>
            <a:ext cx="554038" cy="168275"/>
          </a:xfrm>
          <a:prstGeom prst="rect">
            <a:avLst/>
          </a:prstGeom>
          <a:noFill/>
          <a:ln w="9525">
            <a:noFill/>
            <a:miter lim="800000"/>
            <a:headEnd/>
            <a:tailEnd/>
          </a:ln>
        </p:spPr>
        <p:txBody>
          <a:bodyPr/>
          <a:lstStyle/>
          <a:p>
            <a:pPr defTabSz="457200">
              <a:spcBef>
                <a:spcPct val="50000"/>
              </a:spcBef>
              <a:defRPr/>
            </a:pPr>
            <a:fld id="{484286FC-AE8D-4E3E-B6FE-17CA93BEAF94}" type="slidenum">
              <a:rPr lang="en-GB" sz="800">
                <a:solidFill>
                  <a:srgbClr val="3A3335"/>
                </a:solidFill>
                <a:latin typeface="Verdana"/>
              </a:rPr>
              <a:pPr defTabSz="457200">
                <a:spcBef>
                  <a:spcPct val="50000"/>
                </a:spcBef>
                <a:defRPr/>
              </a:pPr>
              <a:t>8</a:t>
            </a:fld>
            <a:endParaRPr lang="en-GB" sz="800" dirty="0">
              <a:solidFill>
                <a:srgbClr val="3A3335"/>
              </a:solidFill>
              <a:latin typeface="Verdana"/>
            </a:endParaRPr>
          </a:p>
        </p:txBody>
      </p:sp>
      <p:sp>
        <p:nvSpPr>
          <p:cNvPr id="7" name="McK 5. Source"/>
          <p:cNvSpPr>
            <a:spLocks noChangeArrowheads="1"/>
          </p:cNvSpPr>
          <p:nvPr>
            <p:custDataLst>
              <p:tags r:id="rId1"/>
            </p:custDataLst>
          </p:nvPr>
        </p:nvSpPr>
        <p:spPr bwMode="gray">
          <a:xfrm>
            <a:off x="7172633" y="5871137"/>
            <a:ext cx="25173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41350" indent="-641350" defTabSz="913526">
              <a:tabLst>
                <a:tab pos="642938" algn="l"/>
              </a:tabLst>
              <a:defRPr/>
            </a:pPr>
            <a:r>
              <a:rPr lang="en-GB" sz="1000" dirty="0">
                <a:solidFill>
                  <a:srgbClr val="000000"/>
                </a:solidFill>
                <a:latin typeface="Verdana"/>
              </a:rPr>
              <a:t>SOURCE: Damco OPEX Team</a:t>
            </a:r>
          </a:p>
        </p:txBody>
      </p:sp>
      <p:sp>
        <p:nvSpPr>
          <p:cNvPr id="9" name="TextBox 8">
            <a:extLst>
              <a:ext uri="{FF2B5EF4-FFF2-40B4-BE49-F238E27FC236}">
                <a16:creationId xmlns:a16="http://schemas.microsoft.com/office/drawing/2014/main" id="{91F9A980-802D-4F10-8D37-E6CBD0DF47BE}"/>
              </a:ext>
            </a:extLst>
          </p:cNvPr>
          <p:cNvSpPr txBox="1"/>
          <p:nvPr/>
        </p:nvSpPr>
        <p:spPr>
          <a:xfrm>
            <a:off x="9128837" y="5958349"/>
            <a:ext cx="1068636" cy="369332"/>
          </a:xfrm>
          <a:prstGeom prst="rect">
            <a:avLst/>
          </a:prstGeom>
          <a:solidFill>
            <a:schemeClr val="bg1"/>
          </a:solidFill>
        </p:spPr>
        <p:txBody>
          <a:bodyPr wrap="square" rtlCol="0">
            <a:spAutoFit/>
          </a:bodyPr>
          <a:lstStyle/>
          <a:p>
            <a:pPr defTabSz="457200">
              <a:defRPr/>
            </a:pPr>
            <a:endParaRPr lang="en-US" dirty="0">
              <a:solidFill>
                <a:srgbClr val="3A3335"/>
              </a:solidFill>
              <a:latin typeface="Verdana"/>
            </a:endParaRPr>
          </a:p>
        </p:txBody>
      </p:sp>
    </p:spTree>
    <p:extLst>
      <p:ext uri="{BB962C8B-B14F-4D97-AF65-F5344CB8AC3E}">
        <p14:creationId xmlns:p14="http://schemas.microsoft.com/office/powerpoint/2010/main" val="326412301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GbjxD.kUEK2r2fMfxu_uA"/>
</p:tagLst>
</file>

<file path=ppt/tags/tag11.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5L0Fm3lBka9vHLhfp527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pyWIG_2kK947wLQp21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lbVG7mRAkuu_AKN6Sll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0CqEUuJuEW3UVSxPSQm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zJfuNjkhECO8QO9EIq6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S1945sbS0KW19JFfnmc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8JEZ7SLVE6tmTIKw_o5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F5wAg38s0C7l_fpG7dp8Q"/>
</p:tagLst>
</file>

<file path=ppt/theme/theme1.xml><?xml version="1.0" encoding="utf-8"?>
<a:theme xmlns:a="http://schemas.openxmlformats.org/drawingml/2006/main" name="Mærsk">
  <a:themeElements>
    <a:clrScheme name="Custom 1">
      <a:dk1>
        <a:srgbClr val="141414"/>
      </a:dk1>
      <a:lt1>
        <a:srgbClr val="FFFFFF"/>
      </a:lt1>
      <a:dk2>
        <a:srgbClr val="696969"/>
      </a:dk2>
      <a:lt2>
        <a:srgbClr val="F0F0F0"/>
      </a:lt2>
      <a:accent1>
        <a:srgbClr val="42B0D5"/>
      </a:accent1>
      <a:accent2>
        <a:srgbClr val="003E61"/>
      </a:accent2>
      <a:accent3>
        <a:srgbClr val="1686BD"/>
      </a:accent3>
      <a:accent4>
        <a:srgbClr val="A1D1E8"/>
      </a:accent4>
      <a:accent5>
        <a:srgbClr val="E2F3FB"/>
      </a:accent5>
      <a:accent6>
        <a:srgbClr val="EA5D4B"/>
      </a:accent6>
      <a:hlink>
        <a:srgbClr val="0000FF"/>
      </a:hlink>
      <a:folHlink>
        <a:srgbClr val="800080"/>
      </a:folHlink>
    </a:clrScheme>
    <a:fontScheme name="Maersk">
      <a:majorFont>
        <a:latin typeface="Maersk Headline Light"/>
        <a:ea typeface=""/>
        <a:cs typeface=""/>
      </a:majorFont>
      <a:minorFont>
        <a:latin typeface="Maers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237600" tIns="237600" rIns="237600" bIns="2376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37600" tIns="237600" rIns="237600" bIns="237600" rtlCol="0">
        <a:spAutoFit/>
      </a:bodyPr>
      <a:lstStyle>
        <a:defPPr algn="l">
          <a:defRPr sz="1600" dirty="0" err="1" smtClean="0"/>
        </a:defPPr>
      </a:lstStyle>
    </a:txDef>
  </a:objectDefaults>
  <a:extraClrSchemeLst/>
  <a:extLst>
    <a:ext uri="{05A4C25C-085E-4340-85A3-A5531E510DB2}">
      <thm15:themeFamily xmlns:thm15="http://schemas.microsoft.com/office/thememl/2012/main" name="Presentation3" id="{EBB179B3-9BAD-417F-B529-98CADD1B45D2}" vid="{D0C6BC79-8385-454C-8041-7925D14C180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Mærsk">
  <a:themeElements>
    <a:clrScheme name="Custom 1">
      <a:dk1>
        <a:srgbClr val="141414"/>
      </a:dk1>
      <a:lt1>
        <a:srgbClr val="FFFFFF"/>
      </a:lt1>
      <a:dk2>
        <a:srgbClr val="696969"/>
      </a:dk2>
      <a:lt2>
        <a:srgbClr val="F0F0F0"/>
      </a:lt2>
      <a:accent1>
        <a:srgbClr val="42B0D5"/>
      </a:accent1>
      <a:accent2>
        <a:srgbClr val="003E61"/>
      </a:accent2>
      <a:accent3>
        <a:srgbClr val="1686BD"/>
      </a:accent3>
      <a:accent4>
        <a:srgbClr val="A1D1E8"/>
      </a:accent4>
      <a:accent5>
        <a:srgbClr val="E2F3FB"/>
      </a:accent5>
      <a:accent6>
        <a:srgbClr val="EA5D4B"/>
      </a:accent6>
      <a:hlink>
        <a:srgbClr val="0000FF"/>
      </a:hlink>
      <a:folHlink>
        <a:srgbClr val="800080"/>
      </a:folHlink>
    </a:clrScheme>
    <a:fontScheme name="Maersk">
      <a:majorFont>
        <a:latin typeface="Maersk Headline Light"/>
        <a:ea typeface=""/>
        <a:cs typeface=""/>
      </a:majorFont>
      <a:minorFont>
        <a:latin typeface="Maers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237600" tIns="237600" rIns="237600" bIns="2376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37600" tIns="237600" rIns="237600" bIns="237600" rtlCol="0">
        <a:spAutoFit/>
      </a:bodyPr>
      <a:lstStyle>
        <a:defPPr algn="l">
          <a:defRPr sz="1600" dirty="0" err="1" smtClean="0"/>
        </a:defPPr>
      </a:lstStyle>
    </a:txDef>
  </a:objectDefaults>
  <a:extraClrSchemeLst/>
  <a:extLst>
    <a:ext uri="{05A4C25C-085E-4340-85A3-A5531E510DB2}">
      <thm15:themeFamily xmlns:thm15="http://schemas.microsoft.com/office/thememl/2012/main" name="Maersk_2.0_PPT_Template_08" id="{1BB685C8-EE68-D342-A32A-447827B40EE1}" vid="{E5C42056-7AA8-2C4D-9B52-95F5E0A1DBC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7594</TotalTime>
  <Words>1427</Words>
  <Application>Microsoft Macintosh PowerPoint</Application>
  <PresentationFormat>Widescreen</PresentationFormat>
  <Paragraphs>236</Paragraphs>
  <Slides>8</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0" baseType="lpstr">
      <vt:lpstr>Aptos</vt:lpstr>
      <vt:lpstr>Aptos Display</vt:lpstr>
      <vt:lpstr>Arial</vt:lpstr>
      <vt:lpstr>Calibri</vt:lpstr>
      <vt:lpstr>Maersk Headline</vt:lpstr>
      <vt:lpstr>Maersk Headline Light</vt:lpstr>
      <vt:lpstr>Maersk Text</vt:lpstr>
      <vt:lpstr>Verdana</vt:lpstr>
      <vt:lpstr>Mærsk</vt:lpstr>
      <vt:lpstr>Office Theme</vt:lpstr>
      <vt:lpstr>1_Mærsk</vt:lpstr>
      <vt:lpstr>think-cell Slide</vt:lpstr>
      <vt:lpstr>PowerPoint Presentation</vt:lpstr>
      <vt:lpstr>PowerPoint Presentation</vt:lpstr>
      <vt:lpstr>PowerPoint Presentation</vt:lpstr>
      <vt:lpstr>PowerPoint Presentation</vt:lpstr>
      <vt:lpstr>Call to ACTION – Driving Value Together</vt:lpstr>
      <vt:lpstr>Thank you!  For support on how to embed this way of working into your daily operations, please reach out to the Business Change Air &amp; LCL team:  +D TbM GPL BCM Air &amp; LCL &lt;TbMGPLBCMAir&amp;LCL@maersk.onmicrosoft.com&gt;</vt:lpstr>
      <vt:lpstr>OPEX is built on 5 pillars for a sustainable lean performance that must work together to be successful</vt:lpstr>
      <vt:lpstr>The importance of Standard Wo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icolas Agustin Lorenzo Castro</dc:creator>
  <cp:lastModifiedBy>Harsh Puri</cp:lastModifiedBy>
  <cp:revision>4</cp:revision>
  <dcterms:created xsi:type="dcterms:W3CDTF">2025-09-07T17:20:33Z</dcterms:created>
  <dcterms:modified xsi:type="dcterms:W3CDTF">2025-10-01T12:5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1bba39d-4745-4e9d-97db-0c1927b54242_Enabled">
    <vt:lpwstr>true</vt:lpwstr>
  </property>
  <property fmtid="{D5CDD505-2E9C-101B-9397-08002B2CF9AE}" pid="3" name="MSIP_Label_71bba39d-4745-4e9d-97db-0c1927b54242_SetDate">
    <vt:lpwstr>2025-09-07T21:30:34Z</vt:lpwstr>
  </property>
  <property fmtid="{D5CDD505-2E9C-101B-9397-08002B2CF9AE}" pid="4" name="MSIP_Label_71bba39d-4745-4e9d-97db-0c1927b54242_Method">
    <vt:lpwstr>Privileged</vt:lpwstr>
  </property>
  <property fmtid="{D5CDD505-2E9C-101B-9397-08002B2CF9AE}" pid="5" name="MSIP_Label_71bba39d-4745-4e9d-97db-0c1927b54242_Name">
    <vt:lpwstr>Internal</vt:lpwstr>
  </property>
  <property fmtid="{D5CDD505-2E9C-101B-9397-08002B2CF9AE}" pid="6" name="MSIP_Label_71bba39d-4745-4e9d-97db-0c1927b54242_SiteId">
    <vt:lpwstr>05d75c05-fa1a-42e7-9cf1-eb416c396f2d</vt:lpwstr>
  </property>
  <property fmtid="{D5CDD505-2E9C-101B-9397-08002B2CF9AE}" pid="7" name="MSIP_Label_71bba39d-4745-4e9d-97db-0c1927b54242_ActionId">
    <vt:lpwstr>db4ed7bc-e12b-42cd-ac61-4c50cec1dfd7</vt:lpwstr>
  </property>
  <property fmtid="{D5CDD505-2E9C-101B-9397-08002B2CF9AE}" pid="8" name="MSIP_Label_71bba39d-4745-4e9d-97db-0c1927b54242_ContentBits">
    <vt:lpwstr>2</vt:lpwstr>
  </property>
  <property fmtid="{D5CDD505-2E9C-101B-9397-08002B2CF9AE}" pid="9" name="MSIP_Label_71bba39d-4745-4e9d-97db-0c1927b54242_Tag">
    <vt:lpwstr>10, 0, 1, 1</vt:lpwstr>
  </property>
  <property fmtid="{D5CDD505-2E9C-101B-9397-08002B2CF9AE}" pid="10" name="ClassificationContentMarkingFooterLocations">
    <vt:lpwstr>Office Theme:8\Mærsk:5</vt:lpwstr>
  </property>
  <property fmtid="{D5CDD505-2E9C-101B-9397-08002B2CF9AE}" pid="11" name="ClassificationContentMarkingFooterText">
    <vt:lpwstr>Classification: Internal</vt:lpwstr>
  </property>
</Properties>
</file>